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9.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0.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1.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2.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4" r:id="rId4"/>
    <p:sldMasterId id="2147484033" r:id="rId5"/>
    <p:sldMasterId id="2147483766" r:id="rId6"/>
    <p:sldMasterId id="2147483772" r:id="rId7"/>
    <p:sldMasterId id="2147483775" r:id="rId8"/>
    <p:sldMasterId id="2147483782" r:id="rId9"/>
    <p:sldMasterId id="2147483790" r:id="rId10"/>
    <p:sldMasterId id="2147483789" r:id="rId11"/>
    <p:sldMasterId id="2147483798" r:id="rId12"/>
    <p:sldMasterId id="2147483797" r:id="rId13"/>
    <p:sldMasterId id="2147484031" r:id="rId14"/>
    <p:sldMasterId id="2147484036" r:id="rId15"/>
    <p:sldMasterId id="2147483777" r:id="rId16"/>
  </p:sldMasterIdLst>
  <p:notesMasterIdLst>
    <p:notesMasterId r:id="rId34"/>
  </p:notesMasterIdLst>
  <p:sldIdLst>
    <p:sldId id="258" r:id="rId17"/>
    <p:sldId id="446" r:id="rId18"/>
    <p:sldId id="328" r:id="rId19"/>
    <p:sldId id="433" r:id="rId20"/>
    <p:sldId id="434" r:id="rId21"/>
    <p:sldId id="432" r:id="rId22"/>
    <p:sldId id="431" r:id="rId23"/>
    <p:sldId id="399" r:id="rId24"/>
    <p:sldId id="398" r:id="rId25"/>
    <p:sldId id="435" r:id="rId26"/>
    <p:sldId id="402" r:id="rId27"/>
    <p:sldId id="309" r:id="rId28"/>
    <p:sldId id="438" r:id="rId29"/>
    <p:sldId id="440" r:id="rId30"/>
    <p:sldId id="441" r:id="rId31"/>
    <p:sldId id="442" r:id="rId32"/>
    <p:sldId id="427" r:id="rId33"/>
  </p:sldIdLst>
  <p:sldSz cx="12192000" cy="6858000"/>
  <p:notesSz cx="6858000" cy="9144000"/>
  <p:custDataLst>
    <p:tags r:id="rId35"/>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FF744-F591-FD0D-7854-3F4FDB8467AF}" name="Hans Gelissen (DHL SSC Maastricht)" initials="HG(SM" userId="S::hans.gelissen@dhl.com::1afa8510-4eed-4b73-a29e-678838cd8acd" providerId="AD"/>
  <p188:author id="{3DD3669C-276A-9A36-BA63-9779AC117A24}" name="Bente De Rijke (DHL SSC Maastricht)" initials="BDR(SM" userId="S::bente.derijke@dhl.com::475646eb-b23c-43c0-b2ae-71e1fde9b74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EEF"/>
    <a:srgbClr val="FFC000"/>
    <a:srgbClr val="BF3B4B"/>
    <a:srgbClr val="DB8993"/>
    <a:srgbClr val="D2EEFC"/>
    <a:srgbClr val="7395D3"/>
    <a:srgbClr val="0033CC"/>
    <a:srgbClr val="5982CB"/>
    <a:srgbClr val="8A0000"/>
    <a:srgbClr val="95C6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2D1BCD-0440-7B7F-0535-9891BC851BA0}" v="34" dt="2023-08-21T23:11:16.672"/>
    <p1510:client id="{F28DB440-ADF2-4205-9C03-032A231D6973}" v="8" dt="2023-07-14T16:50:36.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6" d="100"/>
          <a:sy n="46" d="100"/>
        </p:scale>
        <p:origin x="1086" y="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tableStyles" Target="tableStyles.xml"/><Relationship Id="rId21" Type="http://schemas.openxmlformats.org/officeDocument/2006/relationships/slide" Target="slides/slide5.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tags" Target="tags/tag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ns Gelissen (DHL SSC Maastricht)" userId="1afa8510-4eed-4b73-a29e-678838cd8acd" providerId="ADAL" clId="{5DC7728A-B193-4E42-B707-5F97579A36D9}"/>
    <pc:docChg chg="custSel modMainMaster">
      <pc:chgData name="Hans Gelissen (DHL SSC Maastricht)" userId="1afa8510-4eed-4b73-a29e-678838cd8acd" providerId="ADAL" clId="{5DC7728A-B193-4E42-B707-5F97579A36D9}" dt="2023-06-27T09:36:02.419" v="72"/>
      <pc:docMkLst>
        <pc:docMk/>
      </pc:docMkLst>
      <pc:sldMasterChg chg="modSldLayout">
        <pc:chgData name="Hans Gelissen (DHL SSC Maastricht)" userId="1afa8510-4eed-4b73-a29e-678838cd8acd" providerId="ADAL" clId="{5DC7728A-B193-4E42-B707-5F97579A36D9}" dt="2023-06-27T09:35:18.060" v="40"/>
        <pc:sldMasterMkLst>
          <pc:docMk/>
          <pc:sldMasterMk cId="2253695231" sldId="2147483754"/>
        </pc:sldMasterMkLst>
        <pc:sldLayoutChg chg="addSp delSp modSp mod">
          <pc:chgData name="Hans Gelissen (DHL SSC Maastricht)" userId="1afa8510-4eed-4b73-a29e-678838cd8acd" providerId="ADAL" clId="{5DC7728A-B193-4E42-B707-5F97579A36D9}" dt="2023-06-27T09:34:17.568" v="8" actId="1076"/>
          <pc:sldLayoutMkLst>
            <pc:docMk/>
            <pc:sldMasterMk cId="2253695231" sldId="2147483754"/>
            <pc:sldLayoutMk cId="403307911" sldId="2147483730"/>
          </pc:sldLayoutMkLst>
          <pc:spChg chg="add mod">
            <ac:chgData name="Hans Gelissen (DHL SSC Maastricht)" userId="1afa8510-4eed-4b73-a29e-678838cd8acd" providerId="ADAL" clId="{5DC7728A-B193-4E42-B707-5F97579A36D9}" dt="2023-06-27T09:33:49.557" v="0"/>
            <ac:spMkLst>
              <pc:docMk/>
              <pc:sldMasterMk cId="2253695231" sldId="2147483754"/>
              <pc:sldLayoutMk cId="403307911" sldId="2147483730"/>
              <ac:spMk id="3" creationId="{7F0A5D73-5526-440B-2C11-AE1BC42C3E80}"/>
            </ac:spMkLst>
          </pc:spChg>
          <pc:grpChg chg="add mod">
            <ac:chgData name="Hans Gelissen (DHL SSC Maastricht)" userId="1afa8510-4eed-4b73-a29e-678838cd8acd" providerId="ADAL" clId="{5DC7728A-B193-4E42-B707-5F97579A36D9}" dt="2023-06-27T09:34:17.568" v="8" actId="1076"/>
            <ac:grpSpMkLst>
              <pc:docMk/>
              <pc:sldMasterMk cId="2253695231" sldId="2147483754"/>
              <pc:sldLayoutMk cId="403307911" sldId="2147483730"/>
              <ac:grpSpMk id="2" creationId="{0288C8FB-13C9-99FB-B01C-DC4395A3BA6A}"/>
            </ac:grpSpMkLst>
          </pc:grpChg>
          <pc:grpChg chg="del">
            <ac:chgData name="Hans Gelissen (DHL SSC Maastricht)" userId="1afa8510-4eed-4b73-a29e-678838cd8acd" providerId="ADAL" clId="{5DC7728A-B193-4E42-B707-5F97579A36D9}" dt="2023-06-27T09:34:13.090" v="7" actId="478"/>
            <ac:grpSpMkLst>
              <pc:docMk/>
              <pc:sldMasterMk cId="2253695231" sldId="2147483754"/>
              <pc:sldLayoutMk cId="403307911" sldId="2147483730"/>
              <ac:grpSpMk id="19" creationId="{415A3D1A-37E6-49DF-9012-F8D327340F26}"/>
            </ac:grpSpMkLst>
          </pc:grpChg>
          <pc:picChg chg="add mod">
            <ac:chgData name="Hans Gelissen (DHL SSC Maastricht)" userId="1afa8510-4eed-4b73-a29e-678838cd8acd" providerId="ADAL" clId="{5DC7728A-B193-4E42-B707-5F97579A36D9}" dt="2023-06-27T09:33:49.557" v="0"/>
            <ac:picMkLst>
              <pc:docMk/>
              <pc:sldMasterMk cId="2253695231" sldId="2147483754"/>
              <pc:sldLayoutMk cId="403307911" sldId="2147483730"/>
              <ac:picMk id="4" creationId="{6E53A130-1D8C-D2D0-CF39-EC03D3479518}"/>
            </ac:picMkLst>
          </pc:picChg>
          <pc:picChg chg="add mod">
            <ac:chgData name="Hans Gelissen (DHL SSC Maastricht)" userId="1afa8510-4eed-4b73-a29e-678838cd8acd" providerId="ADAL" clId="{5DC7728A-B193-4E42-B707-5F97579A36D9}" dt="2023-06-27T09:33:49.557" v="0"/>
            <ac:picMkLst>
              <pc:docMk/>
              <pc:sldMasterMk cId="2253695231" sldId="2147483754"/>
              <pc:sldLayoutMk cId="403307911" sldId="2147483730"/>
              <ac:picMk id="5" creationId="{E8F2A838-40E6-8577-AE70-F1CD20FC2A14}"/>
            </ac:picMkLst>
          </pc:picChg>
          <pc:picChg chg="add mod">
            <ac:chgData name="Hans Gelissen (DHL SSC Maastricht)" userId="1afa8510-4eed-4b73-a29e-678838cd8acd" providerId="ADAL" clId="{5DC7728A-B193-4E42-B707-5F97579A36D9}" dt="2023-06-27T09:33:49.557" v="0"/>
            <ac:picMkLst>
              <pc:docMk/>
              <pc:sldMasterMk cId="2253695231" sldId="2147483754"/>
              <pc:sldLayoutMk cId="403307911" sldId="2147483730"/>
              <ac:picMk id="6" creationId="{37D80520-0709-236C-C671-6FD145FDD001}"/>
            </ac:picMkLst>
          </pc:picChg>
          <pc:picChg chg="mod">
            <ac:chgData name="Hans Gelissen (DHL SSC Maastricht)" userId="1afa8510-4eed-4b73-a29e-678838cd8acd" providerId="ADAL" clId="{5DC7728A-B193-4E42-B707-5F97579A36D9}" dt="2023-06-27T09:34:02.399" v="4" actId="1076"/>
            <ac:picMkLst>
              <pc:docMk/>
              <pc:sldMasterMk cId="2253695231" sldId="2147483754"/>
              <pc:sldLayoutMk cId="403307911" sldId="2147483730"/>
              <ac:picMk id="2054" creationId="{B43C5739-9C50-4600-9D8C-4447946A6FBF}"/>
            </ac:picMkLst>
          </pc:picChg>
        </pc:sldLayoutChg>
        <pc:sldLayoutChg chg="addSp delSp modSp mod">
          <pc:chgData name="Hans Gelissen (DHL SSC Maastricht)" userId="1afa8510-4eed-4b73-a29e-678838cd8acd" providerId="ADAL" clId="{5DC7728A-B193-4E42-B707-5F97579A36D9}" dt="2023-06-27T09:35:01.268" v="24"/>
          <pc:sldLayoutMkLst>
            <pc:docMk/>
            <pc:sldMasterMk cId="2253695231" sldId="2147483754"/>
            <pc:sldLayoutMk cId="3371890454" sldId="2147483744"/>
          </pc:sldLayoutMkLst>
          <pc:spChg chg="mod">
            <ac:chgData name="Hans Gelissen (DHL SSC Maastricht)" userId="1afa8510-4eed-4b73-a29e-678838cd8acd" providerId="ADAL" clId="{5DC7728A-B193-4E42-B707-5F97579A36D9}" dt="2023-06-27T09:35:01.268" v="24"/>
            <ac:spMkLst>
              <pc:docMk/>
              <pc:sldMasterMk cId="2253695231" sldId="2147483754"/>
              <pc:sldLayoutMk cId="3371890454" sldId="2147483744"/>
              <ac:spMk id="6" creationId="{C6C7FE48-FF00-459A-7AE6-E100ED8257A1}"/>
            </ac:spMkLst>
          </pc:spChg>
          <pc:grpChg chg="add mod">
            <ac:chgData name="Hans Gelissen (DHL SSC Maastricht)" userId="1afa8510-4eed-4b73-a29e-678838cd8acd" providerId="ADAL" clId="{5DC7728A-B193-4E42-B707-5F97579A36D9}" dt="2023-06-27T09:35:01.268" v="24"/>
            <ac:grpSpMkLst>
              <pc:docMk/>
              <pc:sldMasterMk cId="2253695231" sldId="2147483754"/>
              <pc:sldLayoutMk cId="3371890454" sldId="2147483744"/>
              <ac:grpSpMk id="2" creationId="{DB51E713-9505-E355-6810-9870EC770376}"/>
            </ac:grpSpMkLst>
          </pc:grpChg>
          <pc:grpChg chg="del">
            <ac:chgData name="Hans Gelissen (DHL SSC Maastricht)" userId="1afa8510-4eed-4b73-a29e-678838cd8acd" providerId="ADAL" clId="{5DC7728A-B193-4E42-B707-5F97579A36D9}" dt="2023-06-27T09:34:23.470" v="9" actId="478"/>
            <ac:grpSpMkLst>
              <pc:docMk/>
              <pc:sldMasterMk cId="2253695231" sldId="2147483754"/>
              <pc:sldLayoutMk cId="3371890454" sldId="2147483744"/>
              <ac:grpSpMk id="65" creationId="{1BDED68A-58CE-477A-8081-6078BF2E6B86}"/>
            </ac:grpSpMkLst>
          </pc:grpChg>
          <pc:picChg chg="mod">
            <ac:chgData name="Hans Gelissen (DHL SSC Maastricht)" userId="1afa8510-4eed-4b73-a29e-678838cd8acd" providerId="ADAL" clId="{5DC7728A-B193-4E42-B707-5F97579A36D9}" dt="2023-06-27T09:35:01.268" v="24"/>
            <ac:picMkLst>
              <pc:docMk/>
              <pc:sldMasterMk cId="2253695231" sldId="2147483754"/>
              <pc:sldLayoutMk cId="3371890454" sldId="2147483744"/>
              <ac:picMk id="7" creationId="{1DA72651-6438-02D8-07C6-0EEFF946783F}"/>
            </ac:picMkLst>
          </pc:picChg>
          <pc:picChg chg="mod">
            <ac:chgData name="Hans Gelissen (DHL SSC Maastricht)" userId="1afa8510-4eed-4b73-a29e-678838cd8acd" providerId="ADAL" clId="{5DC7728A-B193-4E42-B707-5F97579A36D9}" dt="2023-06-27T09:35:01.268" v="24"/>
            <ac:picMkLst>
              <pc:docMk/>
              <pc:sldMasterMk cId="2253695231" sldId="2147483754"/>
              <pc:sldLayoutMk cId="3371890454" sldId="2147483744"/>
              <ac:picMk id="8" creationId="{111EB31F-3938-40BB-5ED6-AC3789D161A5}"/>
            </ac:picMkLst>
          </pc:picChg>
          <pc:picChg chg="mod">
            <ac:chgData name="Hans Gelissen (DHL SSC Maastricht)" userId="1afa8510-4eed-4b73-a29e-678838cd8acd" providerId="ADAL" clId="{5DC7728A-B193-4E42-B707-5F97579A36D9}" dt="2023-06-27T09:35:01.268" v="24"/>
            <ac:picMkLst>
              <pc:docMk/>
              <pc:sldMasterMk cId="2253695231" sldId="2147483754"/>
              <pc:sldLayoutMk cId="3371890454" sldId="2147483744"/>
              <ac:picMk id="9" creationId="{C898D12F-0B21-6CCF-0BF2-2F3AF3C8E309}"/>
            </ac:picMkLst>
          </pc:picChg>
        </pc:sldLayoutChg>
        <pc:sldLayoutChg chg="addSp delSp modSp mod">
          <pc:chgData name="Hans Gelissen (DHL SSC Maastricht)" userId="1afa8510-4eed-4b73-a29e-678838cd8acd" providerId="ADAL" clId="{5DC7728A-B193-4E42-B707-5F97579A36D9}" dt="2023-06-27T09:35:01.893" v="25"/>
          <pc:sldLayoutMkLst>
            <pc:docMk/>
            <pc:sldMasterMk cId="2253695231" sldId="2147483754"/>
            <pc:sldLayoutMk cId="2430525271" sldId="2147483825"/>
          </pc:sldLayoutMkLst>
          <pc:spChg chg="mod">
            <ac:chgData name="Hans Gelissen (DHL SSC Maastricht)" userId="1afa8510-4eed-4b73-a29e-678838cd8acd" providerId="ADAL" clId="{5DC7728A-B193-4E42-B707-5F97579A36D9}" dt="2023-06-27T09:35:01.893" v="25"/>
            <ac:spMkLst>
              <pc:docMk/>
              <pc:sldMasterMk cId="2253695231" sldId="2147483754"/>
              <pc:sldLayoutMk cId="2430525271" sldId="2147483825"/>
              <ac:spMk id="6" creationId="{CFF27272-3B68-EF42-2988-7B3AC6518784}"/>
            </ac:spMkLst>
          </pc:spChg>
          <pc:grpChg chg="add mod">
            <ac:chgData name="Hans Gelissen (DHL SSC Maastricht)" userId="1afa8510-4eed-4b73-a29e-678838cd8acd" providerId="ADAL" clId="{5DC7728A-B193-4E42-B707-5F97579A36D9}" dt="2023-06-27T09:35:01.893" v="25"/>
            <ac:grpSpMkLst>
              <pc:docMk/>
              <pc:sldMasterMk cId="2253695231" sldId="2147483754"/>
              <pc:sldLayoutMk cId="2430525271" sldId="2147483825"/>
              <ac:grpSpMk id="2" creationId="{440AB59A-982F-E07C-BD45-8D91E7AC79FA}"/>
            </ac:grpSpMkLst>
          </pc:grpChg>
          <pc:grpChg chg="del">
            <ac:chgData name="Hans Gelissen (DHL SSC Maastricht)" userId="1afa8510-4eed-4b73-a29e-678838cd8acd" providerId="ADAL" clId="{5DC7728A-B193-4E42-B707-5F97579A36D9}" dt="2023-06-27T09:34:25.882" v="10" actId="478"/>
            <ac:grpSpMkLst>
              <pc:docMk/>
              <pc:sldMasterMk cId="2253695231" sldId="2147483754"/>
              <pc:sldLayoutMk cId="2430525271" sldId="2147483825"/>
              <ac:grpSpMk id="65" creationId="{1BDED68A-58CE-477A-8081-6078BF2E6B86}"/>
            </ac:grpSpMkLst>
          </pc:grpChg>
          <pc:picChg chg="mod">
            <ac:chgData name="Hans Gelissen (DHL SSC Maastricht)" userId="1afa8510-4eed-4b73-a29e-678838cd8acd" providerId="ADAL" clId="{5DC7728A-B193-4E42-B707-5F97579A36D9}" dt="2023-06-27T09:35:01.893" v="25"/>
            <ac:picMkLst>
              <pc:docMk/>
              <pc:sldMasterMk cId="2253695231" sldId="2147483754"/>
              <pc:sldLayoutMk cId="2430525271" sldId="2147483825"/>
              <ac:picMk id="7" creationId="{E7BCFC16-AA3F-0CB5-7C68-778170EF6ED7}"/>
            </ac:picMkLst>
          </pc:picChg>
          <pc:picChg chg="mod">
            <ac:chgData name="Hans Gelissen (DHL SSC Maastricht)" userId="1afa8510-4eed-4b73-a29e-678838cd8acd" providerId="ADAL" clId="{5DC7728A-B193-4E42-B707-5F97579A36D9}" dt="2023-06-27T09:35:01.893" v="25"/>
            <ac:picMkLst>
              <pc:docMk/>
              <pc:sldMasterMk cId="2253695231" sldId="2147483754"/>
              <pc:sldLayoutMk cId="2430525271" sldId="2147483825"/>
              <ac:picMk id="8" creationId="{AE1436D6-6527-EAE8-1703-202DF06CF97E}"/>
            </ac:picMkLst>
          </pc:picChg>
          <pc:picChg chg="mod">
            <ac:chgData name="Hans Gelissen (DHL SSC Maastricht)" userId="1afa8510-4eed-4b73-a29e-678838cd8acd" providerId="ADAL" clId="{5DC7728A-B193-4E42-B707-5F97579A36D9}" dt="2023-06-27T09:35:01.893" v="25"/>
            <ac:picMkLst>
              <pc:docMk/>
              <pc:sldMasterMk cId="2253695231" sldId="2147483754"/>
              <pc:sldLayoutMk cId="2430525271" sldId="2147483825"/>
              <ac:picMk id="9" creationId="{2023F3B7-099D-D803-9C34-D16C91E8AF51}"/>
            </ac:picMkLst>
          </pc:picChg>
        </pc:sldLayoutChg>
        <pc:sldLayoutChg chg="addSp delSp modSp mod">
          <pc:chgData name="Hans Gelissen (DHL SSC Maastricht)" userId="1afa8510-4eed-4b73-a29e-678838cd8acd" providerId="ADAL" clId="{5DC7728A-B193-4E42-B707-5F97579A36D9}" dt="2023-06-27T09:35:02.671" v="26"/>
          <pc:sldLayoutMkLst>
            <pc:docMk/>
            <pc:sldMasterMk cId="2253695231" sldId="2147483754"/>
            <pc:sldLayoutMk cId="1903724941" sldId="2147483826"/>
          </pc:sldLayoutMkLst>
          <pc:spChg chg="mod">
            <ac:chgData name="Hans Gelissen (DHL SSC Maastricht)" userId="1afa8510-4eed-4b73-a29e-678838cd8acd" providerId="ADAL" clId="{5DC7728A-B193-4E42-B707-5F97579A36D9}" dt="2023-06-27T09:35:02.671" v="26"/>
            <ac:spMkLst>
              <pc:docMk/>
              <pc:sldMasterMk cId="2253695231" sldId="2147483754"/>
              <pc:sldLayoutMk cId="1903724941" sldId="2147483826"/>
              <ac:spMk id="6" creationId="{5C1EFA21-BC10-2786-CC43-5CF7533353C0}"/>
            </ac:spMkLst>
          </pc:spChg>
          <pc:grpChg chg="add mod">
            <ac:chgData name="Hans Gelissen (DHL SSC Maastricht)" userId="1afa8510-4eed-4b73-a29e-678838cd8acd" providerId="ADAL" clId="{5DC7728A-B193-4E42-B707-5F97579A36D9}" dt="2023-06-27T09:35:02.671" v="26"/>
            <ac:grpSpMkLst>
              <pc:docMk/>
              <pc:sldMasterMk cId="2253695231" sldId="2147483754"/>
              <pc:sldLayoutMk cId="1903724941" sldId="2147483826"/>
              <ac:grpSpMk id="2" creationId="{173A5332-604C-2B59-5144-AA9C2199535B}"/>
            </ac:grpSpMkLst>
          </pc:grpChg>
          <pc:grpChg chg="del">
            <ac:chgData name="Hans Gelissen (DHL SSC Maastricht)" userId="1afa8510-4eed-4b73-a29e-678838cd8acd" providerId="ADAL" clId="{5DC7728A-B193-4E42-B707-5F97579A36D9}" dt="2023-06-27T09:34:27.319" v="11" actId="478"/>
            <ac:grpSpMkLst>
              <pc:docMk/>
              <pc:sldMasterMk cId="2253695231" sldId="2147483754"/>
              <pc:sldLayoutMk cId="1903724941" sldId="2147483826"/>
              <ac:grpSpMk id="65" creationId="{1BDED68A-58CE-477A-8081-6078BF2E6B86}"/>
            </ac:grpSpMkLst>
          </pc:grpChg>
          <pc:picChg chg="mod">
            <ac:chgData name="Hans Gelissen (DHL SSC Maastricht)" userId="1afa8510-4eed-4b73-a29e-678838cd8acd" providerId="ADAL" clId="{5DC7728A-B193-4E42-B707-5F97579A36D9}" dt="2023-06-27T09:35:02.671" v="26"/>
            <ac:picMkLst>
              <pc:docMk/>
              <pc:sldMasterMk cId="2253695231" sldId="2147483754"/>
              <pc:sldLayoutMk cId="1903724941" sldId="2147483826"/>
              <ac:picMk id="7" creationId="{145916BA-E4DA-AD0D-6D8C-0BF33AF64127}"/>
            </ac:picMkLst>
          </pc:picChg>
          <pc:picChg chg="mod">
            <ac:chgData name="Hans Gelissen (DHL SSC Maastricht)" userId="1afa8510-4eed-4b73-a29e-678838cd8acd" providerId="ADAL" clId="{5DC7728A-B193-4E42-B707-5F97579A36D9}" dt="2023-06-27T09:35:02.671" v="26"/>
            <ac:picMkLst>
              <pc:docMk/>
              <pc:sldMasterMk cId="2253695231" sldId="2147483754"/>
              <pc:sldLayoutMk cId="1903724941" sldId="2147483826"/>
              <ac:picMk id="8" creationId="{669578F1-2F79-9D0D-8EB1-67C1B692FA85}"/>
            </ac:picMkLst>
          </pc:picChg>
          <pc:picChg chg="mod">
            <ac:chgData name="Hans Gelissen (DHL SSC Maastricht)" userId="1afa8510-4eed-4b73-a29e-678838cd8acd" providerId="ADAL" clId="{5DC7728A-B193-4E42-B707-5F97579A36D9}" dt="2023-06-27T09:35:02.671" v="26"/>
            <ac:picMkLst>
              <pc:docMk/>
              <pc:sldMasterMk cId="2253695231" sldId="2147483754"/>
              <pc:sldLayoutMk cId="1903724941" sldId="2147483826"/>
              <ac:picMk id="9" creationId="{CD36F742-708A-4B31-CEDB-0AB6F41B93FB}"/>
            </ac:picMkLst>
          </pc:picChg>
        </pc:sldLayoutChg>
        <pc:sldLayoutChg chg="addSp delSp modSp mod">
          <pc:chgData name="Hans Gelissen (DHL SSC Maastricht)" userId="1afa8510-4eed-4b73-a29e-678838cd8acd" providerId="ADAL" clId="{5DC7728A-B193-4E42-B707-5F97579A36D9}" dt="2023-06-27T09:35:06.042" v="29"/>
          <pc:sldLayoutMkLst>
            <pc:docMk/>
            <pc:sldMasterMk cId="2253695231" sldId="2147483754"/>
            <pc:sldLayoutMk cId="1305642289" sldId="2147483873"/>
          </pc:sldLayoutMkLst>
          <pc:spChg chg="mod">
            <ac:chgData name="Hans Gelissen (DHL SSC Maastricht)" userId="1afa8510-4eed-4b73-a29e-678838cd8acd" providerId="ADAL" clId="{5DC7728A-B193-4E42-B707-5F97579A36D9}" dt="2023-06-27T09:35:06.042" v="29"/>
            <ac:spMkLst>
              <pc:docMk/>
              <pc:sldMasterMk cId="2253695231" sldId="2147483754"/>
              <pc:sldLayoutMk cId="1305642289" sldId="2147483873"/>
              <ac:spMk id="6" creationId="{77B9BE65-EB90-0572-3B2E-AB612EF0F4F7}"/>
            </ac:spMkLst>
          </pc:spChg>
          <pc:grpChg chg="add mod">
            <ac:chgData name="Hans Gelissen (DHL SSC Maastricht)" userId="1afa8510-4eed-4b73-a29e-678838cd8acd" providerId="ADAL" clId="{5DC7728A-B193-4E42-B707-5F97579A36D9}" dt="2023-06-27T09:35:06.042" v="29"/>
            <ac:grpSpMkLst>
              <pc:docMk/>
              <pc:sldMasterMk cId="2253695231" sldId="2147483754"/>
              <pc:sldLayoutMk cId="1305642289" sldId="2147483873"/>
              <ac:grpSpMk id="2" creationId="{5D8E90DD-629B-BBD9-2DF4-A2AC1C34BC47}"/>
            </ac:grpSpMkLst>
          </pc:grpChg>
          <pc:grpChg chg="del">
            <ac:chgData name="Hans Gelissen (DHL SSC Maastricht)" userId="1afa8510-4eed-4b73-a29e-678838cd8acd" providerId="ADAL" clId="{5DC7728A-B193-4E42-B707-5F97579A36D9}" dt="2023-06-27T09:34:31.037" v="14" actId="478"/>
            <ac:grpSpMkLst>
              <pc:docMk/>
              <pc:sldMasterMk cId="2253695231" sldId="2147483754"/>
              <pc:sldLayoutMk cId="1305642289" sldId="2147483873"/>
              <ac:grpSpMk id="65" creationId="{1BDED68A-58CE-477A-8081-6078BF2E6B86}"/>
            </ac:grpSpMkLst>
          </pc:grpChg>
          <pc:picChg chg="mod">
            <ac:chgData name="Hans Gelissen (DHL SSC Maastricht)" userId="1afa8510-4eed-4b73-a29e-678838cd8acd" providerId="ADAL" clId="{5DC7728A-B193-4E42-B707-5F97579A36D9}" dt="2023-06-27T09:35:06.042" v="29"/>
            <ac:picMkLst>
              <pc:docMk/>
              <pc:sldMasterMk cId="2253695231" sldId="2147483754"/>
              <pc:sldLayoutMk cId="1305642289" sldId="2147483873"/>
              <ac:picMk id="7" creationId="{CD3F0093-6A8F-FCAF-8926-EBBE854BA61B}"/>
            </ac:picMkLst>
          </pc:picChg>
          <pc:picChg chg="mod">
            <ac:chgData name="Hans Gelissen (DHL SSC Maastricht)" userId="1afa8510-4eed-4b73-a29e-678838cd8acd" providerId="ADAL" clId="{5DC7728A-B193-4E42-B707-5F97579A36D9}" dt="2023-06-27T09:35:06.042" v="29"/>
            <ac:picMkLst>
              <pc:docMk/>
              <pc:sldMasterMk cId="2253695231" sldId="2147483754"/>
              <pc:sldLayoutMk cId="1305642289" sldId="2147483873"/>
              <ac:picMk id="8" creationId="{0A8DAF30-7CA2-357B-5A6B-DA13E04763D5}"/>
            </ac:picMkLst>
          </pc:picChg>
          <pc:picChg chg="mod">
            <ac:chgData name="Hans Gelissen (DHL SSC Maastricht)" userId="1afa8510-4eed-4b73-a29e-678838cd8acd" providerId="ADAL" clId="{5DC7728A-B193-4E42-B707-5F97579A36D9}" dt="2023-06-27T09:35:06.042" v="29"/>
            <ac:picMkLst>
              <pc:docMk/>
              <pc:sldMasterMk cId="2253695231" sldId="2147483754"/>
              <pc:sldLayoutMk cId="1305642289" sldId="2147483873"/>
              <ac:picMk id="9" creationId="{3FC498F8-8B36-1C3C-FF13-8F322BA36E2B}"/>
            </ac:picMkLst>
          </pc:picChg>
        </pc:sldLayoutChg>
        <pc:sldLayoutChg chg="addSp delSp modSp mod">
          <pc:chgData name="Hans Gelissen (DHL SSC Maastricht)" userId="1afa8510-4eed-4b73-a29e-678838cd8acd" providerId="ADAL" clId="{5DC7728A-B193-4E42-B707-5F97579A36D9}" dt="2023-06-27T09:35:03.455" v="27"/>
          <pc:sldLayoutMkLst>
            <pc:docMk/>
            <pc:sldMasterMk cId="2253695231" sldId="2147483754"/>
            <pc:sldLayoutMk cId="3769672236" sldId="2147483874"/>
          </pc:sldLayoutMkLst>
          <pc:spChg chg="mod">
            <ac:chgData name="Hans Gelissen (DHL SSC Maastricht)" userId="1afa8510-4eed-4b73-a29e-678838cd8acd" providerId="ADAL" clId="{5DC7728A-B193-4E42-B707-5F97579A36D9}" dt="2023-06-27T09:35:03.455" v="27"/>
            <ac:spMkLst>
              <pc:docMk/>
              <pc:sldMasterMk cId="2253695231" sldId="2147483754"/>
              <pc:sldLayoutMk cId="3769672236" sldId="2147483874"/>
              <ac:spMk id="6" creationId="{88ECE77C-0C9B-D878-7926-EDBBEBAEC103}"/>
            </ac:spMkLst>
          </pc:spChg>
          <pc:grpChg chg="add mod">
            <ac:chgData name="Hans Gelissen (DHL SSC Maastricht)" userId="1afa8510-4eed-4b73-a29e-678838cd8acd" providerId="ADAL" clId="{5DC7728A-B193-4E42-B707-5F97579A36D9}" dt="2023-06-27T09:35:03.455" v="27"/>
            <ac:grpSpMkLst>
              <pc:docMk/>
              <pc:sldMasterMk cId="2253695231" sldId="2147483754"/>
              <pc:sldLayoutMk cId="3769672236" sldId="2147483874"/>
              <ac:grpSpMk id="2" creationId="{00F9BDD3-6959-C843-EEBF-F9CB44ADFB57}"/>
            </ac:grpSpMkLst>
          </pc:grpChg>
          <pc:grpChg chg="del">
            <ac:chgData name="Hans Gelissen (DHL SSC Maastricht)" userId="1afa8510-4eed-4b73-a29e-678838cd8acd" providerId="ADAL" clId="{5DC7728A-B193-4E42-B707-5F97579A36D9}" dt="2023-06-27T09:34:28.369" v="12" actId="478"/>
            <ac:grpSpMkLst>
              <pc:docMk/>
              <pc:sldMasterMk cId="2253695231" sldId="2147483754"/>
              <pc:sldLayoutMk cId="3769672236" sldId="2147483874"/>
              <ac:grpSpMk id="65" creationId="{1BDED68A-58CE-477A-8081-6078BF2E6B86}"/>
            </ac:grpSpMkLst>
          </pc:grpChg>
          <pc:picChg chg="mod">
            <ac:chgData name="Hans Gelissen (DHL SSC Maastricht)" userId="1afa8510-4eed-4b73-a29e-678838cd8acd" providerId="ADAL" clId="{5DC7728A-B193-4E42-B707-5F97579A36D9}" dt="2023-06-27T09:35:03.455" v="27"/>
            <ac:picMkLst>
              <pc:docMk/>
              <pc:sldMasterMk cId="2253695231" sldId="2147483754"/>
              <pc:sldLayoutMk cId="3769672236" sldId="2147483874"/>
              <ac:picMk id="7" creationId="{735DE826-6200-FAAD-B4DA-04BE74BAADBA}"/>
            </ac:picMkLst>
          </pc:picChg>
          <pc:picChg chg="mod">
            <ac:chgData name="Hans Gelissen (DHL SSC Maastricht)" userId="1afa8510-4eed-4b73-a29e-678838cd8acd" providerId="ADAL" clId="{5DC7728A-B193-4E42-B707-5F97579A36D9}" dt="2023-06-27T09:35:03.455" v="27"/>
            <ac:picMkLst>
              <pc:docMk/>
              <pc:sldMasterMk cId="2253695231" sldId="2147483754"/>
              <pc:sldLayoutMk cId="3769672236" sldId="2147483874"/>
              <ac:picMk id="8" creationId="{AF70C7C7-10D4-0C4F-ED9F-51E4E2665429}"/>
            </ac:picMkLst>
          </pc:picChg>
          <pc:picChg chg="mod">
            <ac:chgData name="Hans Gelissen (DHL SSC Maastricht)" userId="1afa8510-4eed-4b73-a29e-678838cd8acd" providerId="ADAL" clId="{5DC7728A-B193-4E42-B707-5F97579A36D9}" dt="2023-06-27T09:35:03.455" v="27"/>
            <ac:picMkLst>
              <pc:docMk/>
              <pc:sldMasterMk cId="2253695231" sldId="2147483754"/>
              <pc:sldLayoutMk cId="3769672236" sldId="2147483874"/>
              <ac:picMk id="9" creationId="{AE1E5FB2-8FC5-81F6-C112-25DA4F580CEB}"/>
            </ac:picMkLst>
          </pc:picChg>
        </pc:sldLayoutChg>
        <pc:sldLayoutChg chg="addSp delSp modSp mod">
          <pc:chgData name="Hans Gelissen (DHL SSC Maastricht)" userId="1afa8510-4eed-4b73-a29e-678838cd8acd" providerId="ADAL" clId="{5DC7728A-B193-4E42-B707-5F97579A36D9}" dt="2023-06-27T09:35:09.424" v="32"/>
          <pc:sldLayoutMkLst>
            <pc:docMk/>
            <pc:sldMasterMk cId="2253695231" sldId="2147483754"/>
            <pc:sldLayoutMk cId="3655209364" sldId="2147483875"/>
          </pc:sldLayoutMkLst>
          <pc:spChg chg="mod">
            <ac:chgData name="Hans Gelissen (DHL SSC Maastricht)" userId="1afa8510-4eed-4b73-a29e-678838cd8acd" providerId="ADAL" clId="{5DC7728A-B193-4E42-B707-5F97579A36D9}" dt="2023-06-27T09:35:06.696" v="30"/>
            <ac:spMkLst>
              <pc:docMk/>
              <pc:sldMasterMk cId="2253695231" sldId="2147483754"/>
              <pc:sldLayoutMk cId="3655209364" sldId="2147483875"/>
              <ac:spMk id="6" creationId="{85A258DB-7F1D-854F-BD1D-FC95EA0A2061}"/>
            </ac:spMkLst>
          </pc:spChg>
          <pc:spChg chg="mod">
            <ac:chgData name="Hans Gelissen (DHL SSC Maastricht)" userId="1afa8510-4eed-4b73-a29e-678838cd8acd" providerId="ADAL" clId="{5DC7728A-B193-4E42-B707-5F97579A36D9}" dt="2023-06-27T09:35:07.429" v="31"/>
            <ac:spMkLst>
              <pc:docMk/>
              <pc:sldMasterMk cId="2253695231" sldId="2147483754"/>
              <pc:sldLayoutMk cId="3655209364" sldId="2147483875"/>
              <ac:spMk id="54" creationId="{D6B9C99C-FD69-3888-F6F8-4D6BAC512E60}"/>
            </ac:spMkLst>
          </pc:spChg>
          <pc:grpChg chg="add mod">
            <ac:chgData name="Hans Gelissen (DHL SSC Maastricht)" userId="1afa8510-4eed-4b73-a29e-678838cd8acd" providerId="ADAL" clId="{5DC7728A-B193-4E42-B707-5F97579A36D9}" dt="2023-06-27T09:35:06.696" v="30"/>
            <ac:grpSpMkLst>
              <pc:docMk/>
              <pc:sldMasterMk cId="2253695231" sldId="2147483754"/>
              <pc:sldLayoutMk cId="3655209364" sldId="2147483875"/>
              <ac:grpSpMk id="2" creationId="{EEEE534E-73CF-FC2F-1094-86D5E1037168}"/>
            </ac:grpSpMkLst>
          </pc:grpChg>
          <pc:grpChg chg="add del mod">
            <ac:chgData name="Hans Gelissen (DHL SSC Maastricht)" userId="1afa8510-4eed-4b73-a29e-678838cd8acd" providerId="ADAL" clId="{5DC7728A-B193-4E42-B707-5F97579A36D9}" dt="2023-06-27T09:35:09.424" v="32"/>
            <ac:grpSpMkLst>
              <pc:docMk/>
              <pc:sldMasterMk cId="2253695231" sldId="2147483754"/>
              <pc:sldLayoutMk cId="3655209364" sldId="2147483875"/>
              <ac:grpSpMk id="53" creationId="{0440E709-2A75-E59B-646A-E78BEDF8A0E6}"/>
            </ac:grpSpMkLst>
          </pc:grpChg>
          <pc:grpChg chg="del">
            <ac:chgData name="Hans Gelissen (DHL SSC Maastricht)" userId="1afa8510-4eed-4b73-a29e-678838cd8acd" providerId="ADAL" clId="{5DC7728A-B193-4E42-B707-5F97579A36D9}" dt="2023-06-27T09:34:32.394" v="15" actId="478"/>
            <ac:grpSpMkLst>
              <pc:docMk/>
              <pc:sldMasterMk cId="2253695231" sldId="2147483754"/>
              <pc:sldLayoutMk cId="3655209364" sldId="2147483875"/>
              <ac:grpSpMk id="65" creationId="{1BDED68A-58CE-477A-8081-6078BF2E6B86}"/>
            </ac:grpSpMkLst>
          </pc:grpChg>
          <pc:picChg chg="mod">
            <ac:chgData name="Hans Gelissen (DHL SSC Maastricht)" userId="1afa8510-4eed-4b73-a29e-678838cd8acd" providerId="ADAL" clId="{5DC7728A-B193-4E42-B707-5F97579A36D9}" dt="2023-06-27T09:35:06.696" v="30"/>
            <ac:picMkLst>
              <pc:docMk/>
              <pc:sldMasterMk cId="2253695231" sldId="2147483754"/>
              <pc:sldLayoutMk cId="3655209364" sldId="2147483875"/>
              <ac:picMk id="7" creationId="{4C0E3DEB-A09A-603C-E2AD-F722DBE68151}"/>
            </ac:picMkLst>
          </pc:picChg>
          <pc:picChg chg="mod">
            <ac:chgData name="Hans Gelissen (DHL SSC Maastricht)" userId="1afa8510-4eed-4b73-a29e-678838cd8acd" providerId="ADAL" clId="{5DC7728A-B193-4E42-B707-5F97579A36D9}" dt="2023-06-27T09:35:06.696" v="30"/>
            <ac:picMkLst>
              <pc:docMk/>
              <pc:sldMasterMk cId="2253695231" sldId="2147483754"/>
              <pc:sldLayoutMk cId="3655209364" sldId="2147483875"/>
              <ac:picMk id="8" creationId="{9FA4BF4D-099D-7FF3-D9B2-8B3C8CF16635}"/>
            </ac:picMkLst>
          </pc:picChg>
          <pc:picChg chg="mod">
            <ac:chgData name="Hans Gelissen (DHL SSC Maastricht)" userId="1afa8510-4eed-4b73-a29e-678838cd8acd" providerId="ADAL" clId="{5DC7728A-B193-4E42-B707-5F97579A36D9}" dt="2023-06-27T09:35:06.696" v="30"/>
            <ac:picMkLst>
              <pc:docMk/>
              <pc:sldMasterMk cId="2253695231" sldId="2147483754"/>
              <pc:sldLayoutMk cId="3655209364" sldId="2147483875"/>
              <ac:picMk id="9" creationId="{37A96A54-3597-6070-21B3-FAC6E5FF2250}"/>
            </ac:picMkLst>
          </pc:picChg>
          <pc:picChg chg="mod">
            <ac:chgData name="Hans Gelissen (DHL SSC Maastricht)" userId="1afa8510-4eed-4b73-a29e-678838cd8acd" providerId="ADAL" clId="{5DC7728A-B193-4E42-B707-5F97579A36D9}" dt="2023-06-27T09:35:07.429" v="31"/>
            <ac:picMkLst>
              <pc:docMk/>
              <pc:sldMasterMk cId="2253695231" sldId="2147483754"/>
              <pc:sldLayoutMk cId="3655209364" sldId="2147483875"/>
              <ac:picMk id="55" creationId="{5628127F-0FDE-53A0-AC3F-62DD01FCBF83}"/>
            </ac:picMkLst>
          </pc:picChg>
          <pc:picChg chg="mod">
            <ac:chgData name="Hans Gelissen (DHL SSC Maastricht)" userId="1afa8510-4eed-4b73-a29e-678838cd8acd" providerId="ADAL" clId="{5DC7728A-B193-4E42-B707-5F97579A36D9}" dt="2023-06-27T09:35:07.429" v="31"/>
            <ac:picMkLst>
              <pc:docMk/>
              <pc:sldMasterMk cId="2253695231" sldId="2147483754"/>
              <pc:sldLayoutMk cId="3655209364" sldId="2147483875"/>
              <ac:picMk id="56" creationId="{8DB4E060-62AB-AE82-6DEF-26BC398CCDCE}"/>
            </ac:picMkLst>
          </pc:picChg>
          <pc:picChg chg="mod">
            <ac:chgData name="Hans Gelissen (DHL SSC Maastricht)" userId="1afa8510-4eed-4b73-a29e-678838cd8acd" providerId="ADAL" clId="{5DC7728A-B193-4E42-B707-5F97579A36D9}" dt="2023-06-27T09:35:07.429" v="31"/>
            <ac:picMkLst>
              <pc:docMk/>
              <pc:sldMasterMk cId="2253695231" sldId="2147483754"/>
              <pc:sldLayoutMk cId="3655209364" sldId="2147483875"/>
              <ac:picMk id="57" creationId="{7E6A3C4C-90A1-0036-A650-E61AB0E8C901}"/>
            </ac:picMkLst>
          </pc:picChg>
        </pc:sldLayoutChg>
        <pc:sldLayoutChg chg="addSp delSp modSp mod">
          <pc:chgData name="Hans Gelissen (DHL SSC Maastricht)" userId="1afa8510-4eed-4b73-a29e-678838cd8acd" providerId="ADAL" clId="{5DC7728A-B193-4E42-B707-5F97579A36D9}" dt="2023-06-27T09:35:05.486" v="28"/>
          <pc:sldLayoutMkLst>
            <pc:docMk/>
            <pc:sldMasterMk cId="2253695231" sldId="2147483754"/>
            <pc:sldLayoutMk cId="2728743336" sldId="2147483876"/>
          </pc:sldLayoutMkLst>
          <pc:spChg chg="mod">
            <ac:chgData name="Hans Gelissen (DHL SSC Maastricht)" userId="1afa8510-4eed-4b73-a29e-678838cd8acd" providerId="ADAL" clId="{5DC7728A-B193-4E42-B707-5F97579A36D9}" dt="2023-06-27T09:35:05.486" v="28"/>
            <ac:spMkLst>
              <pc:docMk/>
              <pc:sldMasterMk cId="2253695231" sldId="2147483754"/>
              <pc:sldLayoutMk cId="2728743336" sldId="2147483876"/>
              <ac:spMk id="6" creationId="{41F564AD-24A4-5E0D-7066-B343AEC62FC5}"/>
            </ac:spMkLst>
          </pc:spChg>
          <pc:grpChg chg="add mod">
            <ac:chgData name="Hans Gelissen (DHL SSC Maastricht)" userId="1afa8510-4eed-4b73-a29e-678838cd8acd" providerId="ADAL" clId="{5DC7728A-B193-4E42-B707-5F97579A36D9}" dt="2023-06-27T09:35:05.486" v="28"/>
            <ac:grpSpMkLst>
              <pc:docMk/>
              <pc:sldMasterMk cId="2253695231" sldId="2147483754"/>
              <pc:sldLayoutMk cId="2728743336" sldId="2147483876"/>
              <ac:grpSpMk id="2" creationId="{6B07F70F-93D5-525B-0192-C266AC8F0B55}"/>
            </ac:grpSpMkLst>
          </pc:grpChg>
          <pc:grpChg chg="del">
            <ac:chgData name="Hans Gelissen (DHL SSC Maastricht)" userId="1afa8510-4eed-4b73-a29e-678838cd8acd" providerId="ADAL" clId="{5DC7728A-B193-4E42-B707-5F97579A36D9}" dt="2023-06-27T09:34:29.593" v="13" actId="478"/>
            <ac:grpSpMkLst>
              <pc:docMk/>
              <pc:sldMasterMk cId="2253695231" sldId="2147483754"/>
              <pc:sldLayoutMk cId="2728743336" sldId="2147483876"/>
              <ac:grpSpMk id="65" creationId="{1BDED68A-58CE-477A-8081-6078BF2E6B86}"/>
            </ac:grpSpMkLst>
          </pc:grpChg>
          <pc:picChg chg="mod">
            <ac:chgData name="Hans Gelissen (DHL SSC Maastricht)" userId="1afa8510-4eed-4b73-a29e-678838cd8acd" providerId="ADAL" clId="{5DC7728A-B193-4E42-B707-5F97579A36D9}" dt="2023-06-27T09:35:05.486" v="28"/>
            <ac:picMkLst>
              <pc:docMk/>
              <pc:sldMasterMk cId="2253695231" sldId="2147483754"/>
              <pc:sldLayoutMk cId="2728743336" sldId="2147483876"/>
              <ac:picMk id="7" creationId="{1CC2DBC4-3915-C1D6-728D-1D1EAF216077}"/>
            </ac:picMkLst>
          </pc:picChg>
          <pc:picChg chg="mod">
            <ac:chgData name="Hans Gelissen (DHL SSC Maastricht)" userId="1afa8510-4eed-4b73-a29e-678838cd8acd" providerId="ADAL" clId="{5DC7728A-B193-4E42-B707-5F97579A36D9}" dt="2023-06-27T09:35:05.486" v="28"/>
            <ac:picMkLst>
              <pc:docMk/>
              <pc:sldMasterMk cId="2253695231" sldId="2147483754"/>
              <pc:sldLayoutMk cId="2728743336" sldId="2147483876"/>
              <ac:picMk id="8" creationId="{56C73E10-8B07-A8C6-4E6A-7B2A915BCCF4}"/>
            </ac:picMkLst>
          </pc:picChg>
          <pc:picChg chg="mod">
            <ac:chgData name="Hans Gelissen (DHL SSC Maastricht)" userId="1afa8510-4eed-4b73-a29e-678838cd8acd" providerId="ADAL" clId="{5DC7728A-B193-4E42-B707-5F97579A36D9}" dt="2023-06-27T09:35:05.486" v="28"/>
            <ac:picMkLst>
              <pc:docMk/>
              <pc:sldMasterMk cId="2253695231" sldId="2147483754"/>
              <pc:sldLayoutMk cId="2728743336" sldId="2147483876"/>
              <ac:picMk id="9" creationId="{C3FD4AF7-D7FD-3021-3230-41A468BF09EC}"/>
            </ac:picMkLst>
          </pc:picChg>
        </pc:sldLayoutChg>
        <pc:sldLayoutChg chg="addSp delSp modSp mod">
          <pc:chgData name="Hans Gelissen (DHL SSC Maastricht)" userId="1afa8510-4eed-4b73-a29e-678838cd8acd" providerId="ADAL" clId="{5DC7728A-B193-4E42-B707-5F97579A36D9}" dt="2023-06-27T09:35:10.640" v="33"/>
          <pc:sldLayoutMkLst>
            <pc:docMk/>
            <pc:sldMasterMk cId="2253695231" sldId="2147483754"/>
            <pc:sldLayoutMk cId="2511530909" sldId="2147483924"/>
          </pc:sldLayoutMkLst>
          <pc:spChg chg="mod">
            <ac:chgData name="Hans Gelissen (DHL SSC Maastricht)" userId="1afa8510-4eed-4b73-a29e-678838cd8acd" providerId="ADAL" clId="{5DC7728A-B193-4E42-B707-5F97579A36D9}" dt="2023-06-27T09:35:10.640" v="33"/>
            <ac:spMkLst>
              <pc:docMk/>
              <pc:sldMasterMk cId="2253695231" sldId="2147483754"/>
              <pc:sldLayoutMk cId="2511530909" sldId="2147483924"/>
              <ac:spMk id="6" creationId="{150A1A1F-4D2D-85BA-7C70-4C5D9ACA1DE8}"/>
            </ac:spMkLst>
          </pc:spChg>
          <pc:grpChg chg="add mod">
            <ac:chgData name="Hans Gelissen (DHL SSC Maastricht)" userId="1afa8510-4eed-4b73-a29e-678838cd8acd" providerId="ADAL" clId="{5DC7728A-B193-4E42-B707-5F97579A36D9}" dt="2023-06-27T09:35:10.640" v="33"/>
            <ac:grpSpMkLst>
              <pc:docMk/>
              <pc:sldMasterMk cId="2253695231" sldId="2147483754"/>
              <pc:sldLayoutMk cId="2511530909" sldId="2147483924"/>
              <ac:grpSpMk id="2" creationId="{F7FB863C-B33D-3DD5-EFC0-73F4F77CCE0B}"/>
            </ac:grpSpMkLst>
          </pc:grpChg>
          <pc:grpChg chg="del">
            <ac:chgData name="Hans Gelissen (DHL SSC Maastricht)" userId="1afa8510-4eed-4b73-a29e-678838cd8acd" providerId="ADAL" clId="{5DC7728A-B193-4E42-B707-5F97579A36D9}" dt="2023-06-27T09:34:33.907" v="16" actId="478"/>
            <ac:grpSpMkLst>
              <pc:docMk/>
              <pc:sldMasterMk cId="2253695231" sldId="2147483754"/>
              <pc:sldLayoutMk cId="2511530909" sldId="2147483924"/>
              <ac:grpSpMk id="65" creationId="{1BDED68A-58CE-477A-8081-6078BF2E6B86}"/>
            </ac:grpSpMkLst>
          </pc:grpChg>
          <pc:picChg chg="mod">
            <ac:chgData name="Hans Gelissen (DHL SSC Maastricht)" userId="1afa8510-4eed-4b73-a29e-678838cd8acd" providerId="ADAL" clId="{5DC7728A-B193-4E42-B707-5F97579A36D9}" dt="2023-06-27T09:35:10.640" v="33"/>
            <ac:picMkLst>
              <pc:docMk/>
              <pc:sldMasterMk cId="2253695231" sldId="2147483754"/>
              <pc:sldLayoutMk cId="2511530909" sldId="2147483924"/>
              <ac:picMk id="7" creationId="{A1198B62-3954-F679-0739-18D33EFDC380}"/>
            </ac:picMkLst>
          </pc:picChg>
          <pc:picChg chg="mod">
            <ac:chgData name="Hans Gelissen (DHL SSC Maastricht)" userId="1afa8510-4eed-4b73-a29e-678838cd8acd" providerId="ADAL" clId="{5DC7728A-B193-4E42-B707-5F97579A36D9}" dt="2023-06-27T09:35:10.640" v="33"/>
            <ac:picMkLst>
              <pc:docMk/>
              <pc:sldMasterMk cId="2253695231" sldId="2147483754"/>
              <pc:sldLayoutMk cId="2511530909" sldId="2147483924"/>
              <ac:picMk id="8" creationId="{7A54C6CF-31F7-5730-D995-8ADDEB95FE45}"/>
            </ac:picMkLst>
          </pc:picChg>
          <pc:picChg chg="mod">
            <ac:chgData name="Hans Gelissen (DHL SSC Maastricht)" userId="1afa8510-4eed-4b73-a29e-678838cd8acd" providerId="ADAL" clId="{5DC7728A-B193-4E42-B707-5F97579A36D9}" dt="2023-06-27T09:35:10.640" v="33"/>
            <ac:picMkLst>
              <pc:docMk/>
              <pc:sldMasterMk cId="2253695231" sldId="2147483754"/>
              <pc:sldLayoutMk cId="2511530909" sldId="2147483924"/>
              <ac:picMk id="9" creationId="{10E5619A-9433-45C0-F223-227AF5BDD15F}"/>
            </ac:picMkLst>
          </pc:picChg>
        </pc:sldLayoutChg>
        <pc:sldLayoutChg chg="addSp delSp modSp mod">
          <pc:chgData name="Hans Gelissen (DHL SSC Maastricht)" userId="1afa8510-4eed-4b73-a29e-678838cd8acd" providerId="ADAL" clId="{5DC7728A-B193-4E42-B707-5F97579A36D9}" dt="2023-06-27T09:35:11.406" v="34"/>
          <pc:sldLayoutMkLst>
            <pc:docMk/>
            <pc:sldMasterMk cId="2253695231" sldId="2147483754"/>
            <pc:sldLayoutMk cId="1611940501" sldId="2147483925"/>
          </pc:sldLayoutMkLst>
          <pc:spChg chg="mod">
            <ac:chgData name="Hans Gelissen (DHL SSC Maastricht)" userId="1afa8510-4eed-4b73-a29e-678838cd8acd" providerId="ADAL" clId="{5DC7728A-B193-4E42-B707-5F97579A36D9}" dt="2023-06-27T09:35:11.406" v="34"/>
            <ac:spMkLst>
              <pc:docMk/>
              <pc:sldMasterMk cId="2253695231" sldId="2147483754"/>
              <pc:sldLayoutMk cId="1611940501" sldId="2147483925"/>
              <ac:spMk id="6" creationId="{1CBA513E-CB1F-E63B-2009-A72D73CF9178}"/>
            </ac:spMkLst>
          </pc:spChg>
          <pc:grpChg chg="add mod">
            <ac:chgData name="Hans Gelissen (DHL SSC Maastricht)" userId="1afa8510-4eed-4b73-a29e-678838cd8acd" providerId="ADAL" clId="{5DC7728A-B193-4E42-B707-5F97579A36D9}" dt="2023-06-27T09:35:11.406" v="34"/>
            <ac:grpSpMkLst>
              <pc:docMk/>
              <pc:sldMasterMk cId="2253695231" sldId="2147483754"/>
              <pc:sldLayoutMk cId="1611940501" sldId="2147483925"/>
              <ac:grpSpMk id="2" creationId="{C58D2257-C56B-DFE2-5AB2-556FA77EA265}"/>
            </ac:grpSpMkLst>
          </pc:grpChg>
          <pc:grpChg chg="del">
            <ac:chgData name="Hans Gelissen (DHL SSC Maastricht)" userId="1afa8510-4eed-4b73-a29e-678838cd8acd" providerId="ADAL" clId="{5DC7728A-B193-4E42-B707-5F97579A36D9}" dt="2023-06-27T09:34:35.118" v="17" actId="478"/>
            <ac:grpSpMkLst>
              <pc:docMk/>
              <pc:sldMasterMk cId="2253695231" sldId="2147483754"/>
              <pc:sldLayoutMk cId="1611940501" sldId="2147483925"/>
              <ac:grpSpMk id="65" creationId="{1BDED68A-58CE-477A-8081-6078BF2E6B86}"/>
            </ac:grpSpMkLst>
          </pc:grpChg>
          <pc:picChg chg="mod">
            <ac:chgData name="Hans Gelissen (DHL SSC Maastricht)" userId="1afa8510-4eed-4b73-a29e-678838cd8acd" providerId="ADAL" clId="{5DC7728A-B193-4E42-B707-5F97579A36D9}" dt="2023-06-27T09:35:11.406" v="34"/>
            <ac:picMkLst>
              <pc:docMk/>
              <pc:sldMasterMk cId="2253695231" sldId="2147483754"/>
              <pc:sldLayoutMk cId="1611940501" sldId="2147483925"/>
              <ac:picMk id="7" creationId="{7B741B4A-3601-9811-24CF-A8567B4EA592}"/>
            </ac:picMkLst>
          </pc:picChg>
          <pc:picChg chg="mod">
            <ac:chgData name="Hans Gelissen (DHL SSC Maastricht)" userId="1afa8510-4eed-4b73-a29e-678838cd8acd" providerId="ADAL" clId="{5DC7728A-B193-4E42-B707-5F97579A36D9}" dt="2023-06-27T09:35:11.406" v="34"/>
            <ac:picMkLst>
              <pc:docMk/>
              <pc:sldMasterMk cId="2253695231" sldId="2147483754"/>
              <pc:sldLayoutMk cId="1611940501" sldId="2147483925"/>
              <ac:picMk id="8" creationId="{5D9BD470-476B-3670-EEB1-EC469B8ED46C}"/>
            </ac:picMkLst>
          </pc:picChg>
          <pc:picChg chg="mod">
            <ac:chgData name="Hans Gelissen (DHL SSC Maastricht)" userId="1afa8510-4eed-4b73-a29e-678838cd8acd" providerId="ADAL" clId="{5DC7728A-B193-4E42-B707-5F97579A36D9}" dt="2023-06-27T09:35:11.406" v="34"/>
            <ac:picMkLst>
              <pc:docMk/>
              <pc:sldMasterMk cId="2253695231" sldId="2147483754"/>
              <pc:sldLayoutMk cId="1611940501" sldId="2147483925"/>
              <ac:picMk id="9" creationId="{82C826C5-7031-81DE-775C-77EB7D5C2681}"/>
            </ac:picMkLst>
          </pc:picChg>
        </pc:sldLayoutChg>
        <pc:sldLayoutChg chg="addSp delSp modSp mod">
          <pc:chgData name="Hans Gelissen (DHL SSC Maastricht)" userId="1afa8510-4eed-4b73-a29e-678838cd8acd" providerId="ADAL" clId="{5DC7728A-B193-4E42-B707-5F97579A36D9}" dt="2023-06-27T09:35:13.564" v="35"/>
          <pc:sldLayoutMkLst>
            <pc:docMk/>
            <pc:sldMasterMk cId="2253695231" sldId="2147483754"/>
            <pc:sldLayoutMk cId="1824327113" sldId="2147483926"/>
          </pc:sldLayoutMkLst>
          <pc:spChg chg="mod">
            <ac:chgData name="Hans Gelissen (DHL SSC Maastricht)" userId="1afa8510-4eed-4b73-a29e-678838cd8acd" providerId="ADAL" clId="{5DC7728A-B193-4E42-B707-5F97579A36D9}" dt="2023-06-27T09:35:13.564" v="35"/>
            <ac:spMkLst>
              <pc:docMk/>
              <pc:sldMasterMk cId="2253695231" sldId="2147483754"/>
              <pc:sldLayoutMk cId="1824327113" sldId="2147483926"/>
              <ac:spMk id="6" creationId="{68164460-BE58-69C0-3E03-65FD2E02CA8A}"/>
            </ac:spMkLst>
          </pc:spChg>
          <pc:grpChg chg="add mod">
            <ac:chgData name="Hans Gelissen (DHL SSC Maastricht)" userId="1afa8510-4eed-4b73-a29e-678838cd8acd" providerId="ADAL" clId="{5DC7728A-B193-4E42-B707-5F97579A36D9}" dt="2023-06-27T09:35:13.564" v="35"/>
            <ac:grpSpMkLst>
              <pc:docMk/>
              <pc:sldMasterMk cId="2253695231" sldId="2147483754"/>
              <pc:sldLayoutMk cId="1824327113" sldId="2147483926"/>
              <ac:grpSpMk id="2" creationId="{498C08A2-264D-F340-99FB-2EA278AE2B07}"/>
            </ac:grpSpMkLst>
          </pc:grpChg>
          <pc:grpChg chg="del">
            <ac:chgData name="Hans Gelissen (DHL SSC Maastricht)" userId="1afa8510-4eed-4b73-a29e-678838cd8acd" providerId="ADAL" clId="{5DC7728A-B193-4E42-B707-5F97579A36D9}" dt="2023-06-27T09:34:36.176" v="18" actId="478"/>
            <ac:grpSpMkLst>
              <pc:docMk/>
              <pc:sldMasterMk cId="2253695231" sldId="2147483754"/>
              <pc:sldLayoutMk cId="1824327113" sldId="2147483926"/>
              <ac:grpSpMk id="65" creationId="{1BDED68A-58CE-477A-8081-6078BF2E6B86}"/>
            </ac:grpSpMkLst>
          </pc:grpChg>
          <pc:picChg chg="mod">
            <ac:chgData name="Hans Gelissen (DHL SSC Maastricht)" userId="1afa8510-4eed-4b73-a29e-678838cd8acd" providerId="ADAL" clId="{5DC7728A-B193-4E42-B707-5F97579A36D9}" dt="2023-06-27T09:35:13.564" v="35"/>
            <ac:picMkLst>
              <pc:docMk/>
              <pc:sldMasterMk cId="2253695231" sldId="2147483754"/>
              <pc:sldLayoutMk cId="1824327113" sldId="2147483926"/>
              <ac:picMk id="7" creationId="{69893C7D-6D5D-FE81-62DC-5E28E92A28AC}"/>
            </ac:picMkLst>
          </pc:picChg>
          <pc:picChg chg="mod">
            <ac:chgData name="Hans Gelissen (DHL SSC Maastricht)" userId="1afa8510-4eed-4b73-a29e-678838cd8acd" providerId="ADAL" clId="{5DC7728A-B193-4E42-B707-5F97579A36D9}" dt="2023-06-27T09:35:13.564" v="35"/>
            <ac:picMkLst>
              <pc:docMk/>
              <pc:sldMasterMk cId="2253695231" sldId="2147483754"/>
              <pc:sldLayoutMk cId="1824327113" sldId="2147483926"/>
              <ac:picMk id="8" creationId="{5BE2B408-0BC5-F310-997F-D4834FCC842D}"/>
            </ac:picMkLst>
          </pc:picChg>
          <pc:picChg chg="mod">
            <ac:chgData name="Hans Gelissen (DHL SSC Maastricht)" userId="1afa8510-4eed-4b73-a29e-678838cd8acd" providerId="ADAL" clId="{5DC7728A-B193-4E42-B707-5F97579A36D9}" dt="2023-06-27T09:35:13.564" v="35"/>
            <ac:picMkLst>
              <pc:docMk/>
              <pc:sldMasterMk cId="2253695231" sldId="2147483754"/>
              <pc:sldLayoutMk cId="1824327113" sldId="2147483926"/>
              <ac:picMk id="9" creationId="{38A82FDF-3076-78AD-066E-EC6AB38ACEF7}"/>
            </ac:picMkLst>
          </pc:picChg>
        </pc:sldLayoutChg>
        <pc:sldLayoutChg chg="addSp delSp modSp mod">
          <pc:chgData name="Hans Gelissen (DHL SSC Maastricht)" userId="1afa8510-4eed-4b73-a29e-678838cd8acd" providerId="ADAL" clId="{5DC7728A-B193-4E42-B707-5F97579A36D9}" dt="2023-06-27T09:35:14.296" v="36"/>
          <pc:sldLayoutMkLst>
            <pc:docMk/>
            <pc:sldMasterMk cId="2253695231" sldId="2147483754"/>
            <pc:sldLayoutMk cId="3938857042" sldId="2147483927"/>
          </pc:sldLayoutMkLst>
          <pc:spChg chg="mod">
            <ac:chgData name="Hans Gelissen (DHL SSC Maastricht)" userId="1afa8510-4eed-4b73-a29e-678838cd8acd" providerId="ADAL" clId="{5DC7728A-B193-4E42-B707-5F97579A36D9}" dt="2023-06-27T09:35:14.296" v="36"/>
            <ac:spMkLst>
              <pc:docMk/>
              <pc:sldMasterMk cId="2253695231" sldId="2147483754"/>
              <pc:sldLayoutMk cId="3938857042" sldId="2147483927"/>
              <ac:spMk id="6" creationId="{C1B678CF-FBEF-A14A-6A79-176FC9D5D478}"/>
            </ac:spMkLst>
          </pc:spChg>
          <pc:grpChg chg="add mod">
            <ac:chgData name="Hans Gelissen (DHL SSC Maastricht)" userId="1afa8510-4eed-4b73-a29e-678838cd8acd" providerId="ADAL" clId="{5DC7728A-B193-4E42-B707-5F97579A36D9}" dt="2023-06-27T09:35:14.296" v="36"/>
            <ac:grpSpMkLst>
              <pc:docMk/>
              <pc:sldMasterMk cId="2253695231" sldId="2147483754"/>
              <pc:sldLayoutMk cId="3938857042" sldId="2147483927"/>
              <ac:grpSpMk id="2" creationId="{8B3A30EB-C172-26A1-9FD9-4809EB817D2E}"/>
            </ac:grpSpMkLst>
          </pc:grpChg>
          <pc:grpChg chg="del">
            <ac:chgData name="Hans Gelissen (DHL SSC Maastricht)" userId="1afa8510-4eed-4b73-a29e-678838cd8acd" providerId="ADAL" clId="{5DC7728A-B193-4E42-B707-5F97579A36D9}" dt="2023-06-27T09:34:37.329" v="19" actId="478"/>
            <ac:grpSpMkLst>
              <pc:docMk/>
              <pc:sldMasterMk cId="2253695231" sldId="2147483754"/>
              <pc:sldLayoutMk cId="3938857042" sldId="2147483927"/>
              <ac:grpSpMk id="65" creationId="{1BDED68A-58CE-477A-8081-6078BF2E6B86}"/>
            </ac:grpSpMkLst>
          </pc:grpChg>
          <pc:picChg chg="mod">
            <ac:chgData name="Hans Gelissen (DHL SSC Maastricht)" userId="1afa8510-4eed-4b73-a29e-678838cd8acd" providerId="ADAL" clId="{5DC7728A-B193-4E42-B707-5F97579A36D9}" dt="2023-06-27T09:35:14.296" v="36"/>
            <ac:picMkLst>
              <pc:docMk/>
              <pc:sldMasterMk cId="2253695231" sldId="2147483754"/>
              <pc:sldLayoutMk cId="3938857042" sldId="2147483927"/>
              <ac:picMk id="7" creationId="{1F5AE004-E92B-C7F3-66B4-D62AA451926F}"/>
            </ac:picMkLst>
          </pc:picChg>
          <pc:picChg chg="mod">
            <ac:chgData name="Hans Gelissen (DHL SSC Maastricht)" userId="1afa8510-4eed-4b73-a29e-678838cd8acd" providerId="ADAL" clId="{5DC7728A-B193-4E42-B707-5F97579A36D9}" dt="2023-06-27T09:35:14.296" v="36"/>
            <ac:picMkLst>
              <pc:docMk/>
              <pc:sldMasterMk cId="2253695231" sldId="2147483754"/>
              <pc:sldLayoutMk cId="3938857042" sldId="2147483927"/>
              <ac:picMk id="8" creationId="{58B45206-BB52-3CBF-356C-FD44932F47A3}"/>
            </ac:picMkLst>
          </pc:picChg>
          <pc:picChg chg="mod">
            <ac:chgData name="Hans Gelissen (DHL SSC Maastricht)" userId="1afa8510-4eed-4b73-a29e-678838cd8acd" providerId="ADAL" clId="{5DC7728A-B193-4E42-B707-5F97579A36D9}" dt="2023-06-27T09:35:14.296" v="36"/>
            <ac:picMkLst>
              <pc:docMk/>
              <pc:sldMasterMk cId="2253695231" sldId="2147483754"/>
              <pc:sldLayoutMk cId="3938857042" sldId="2147483927"/>
              <ac:picMk id="9" creationId="{F9AD28AC-8EA5-9758-B638-9132DB654164}"/>
            </ac:picMkLst>
          </pc:picChg>
        </pc:sldLayoutChg>
        <pc:sldLayoutChg chg="addSp delSp modSp mod">
          <pc:chgData name="Hans Gelissen (DHL SSC Maastricht)" userId="1afa8510-4eed-4b73-a29e-678838cd8acd" providerId="ADAL" clId="{5DC7728A-B193-4E42-B707-5F97579A36D9}" dt="2023-06-27T09:35:15.065" v="37"/>
          <pc:sldLayoutMkLst>
            <pc:docMk/>
            <pc:sldMasterMk cId="2253695231" sldId="2147483754"/>
            <pc:sldLayoutMk cId="1977547776" sldId="2147483928"/>
          </pc:sldLayoutMkLst>
          <pc:spChg chg="mod">
            <ac:chgData name="Hans Gelissen (DHL SSC Maastricht)" userId="1afa8510-4eed-4b73-a29e-678838cd8acd" providerId="ADAL" clId="{5DC7728A-B193-4E42-B707-5F97579A36D9}" dt="2023-06-27T09:35:15.065" v="37"/>
            <ac:spMkLst>
              <pc:docMk/>
              <pc:sldMasterMk cId="2253695231" sldId="2147483754"/>
              <pc:sldLayoutMk cId="1977547776" sldId="2147483928"/>
              <ac:spMk id="6" creationId="{A56235DF-D5B0-60D0-BD0B-AAAABFAF86AA}"/>
            </ac:spMkLst>
          </pc:spChg>
          <pc:grpChg chg="add mod">
            <ac:chgData name="Hans Gelissen (DHL SSC Maastricht)" userId="1afa8510-4eed-4b73-a29e-678838cd8acd" providerId="ADAL" clId="{5DC7728A-B193-4E42-B707-5F97579A36D9}" dt="2023-06-27T09:35:15.065" v="37"/>
            <ac:grpSpMkLst>
              <pc:docMk/>
              <pc:sldMasterMk cId="2253695231" sldId="2147483754"/>
              <pc:sldLayoutMk cId="1977547776" sldId="2147483928"/>
              <ac:grpSpMk id="2" creationId="{A88625F2-FC69-6AAA-40FB-7004F9AB6017}"/>
            </ac:grpSpMkLst>
          </pc:grpChg>
          <pc:grpChg chg="del">
            <ac:chgData name="Hans Gelissen (DHL SSC Maastricht)" userId="1afa8510-4eed-4b73-a29e-678838cd8acd" providerId="ADAL" clId="{5DC7728A-B193-4E42-B707-5F97579A36D9}" dt="2023-06-27T09:34:38.413" v="20" actId="478"/>
            <ac:grpSpMkLst>
              <pc:docMk/>
              <pc:sldMasterMk cId="2253695231" sldId="2147483754"/>
              <pc:sldLayoutMk cId="1977547776" sldId="2147483928"/>
              <ac:grpSpMk id="65" creationId="{1BDED68A-58CE-477A-8081-6078BF2E6B86}"/>
            </ac:grpSpMkLst>
          </pc:grpChg>
          <pc:picChg chg="mod">
            <ac:chgData name="Hans Gelissen (DHL SSC Maastricht)" userId="1afa8510-4eed-4b73-a29e-678838cd8acd" providerId="ADAL" clId="{5DC7728A-B193-4E42-B707-5F97579A36D9}" dt="2023-06-27T09:35:15.065" v="37"/>
            <ac:picMkLst>
              <pc:docMk/>
              <pc:sldMasterMk cId="2253695231" sldId="2147483754"/>
              <pc:sldLayoutMk cId="1977547776" sldId="2147483928"/>
              <ac:picMk id="7" creationId="{24C1BAAC-DF5C-DA31-6523-245676CDC3BC}"/>
            </ac:picMkLst>
          </pc:picChg>
          <pc:picChg chg="mod">
            <ac:chgData name="Hans Gelissen (DHL SSC Maastricht)" userId="1afa8510-4eed-4b73-a29e-678838cd8acd" providerId="ADAL" clId="{5DC7728A-B193-4E42-B707-5F97579A36D9}" dt="2023-06-27T09:35:15.065" v="37"/>
            <ac:picMkLst>
              <pc:docMk/>
              <pc:sldMasterMk cId="2253695231" sldId="2147483754"/>
              <pc:sldLayoutMk cId="1977547776" sldId="2147483928"/>
              <ac:picMk id="8" creationId="{F62384F0-47D9-B3C7-C0C8-4787723F9D5D}"/>
            </ac:picMkLst>
          </pc:picChg>
          <pc:picChg chg="mod">
            <ac:chgData name="Hans Gelissen (DHL SSC Maastricht)" userId="1afa8510-4eed-4b73-a29e-678838cd8acd" providerId="ADAL" clId="{5DC7728A-B193-4E42-B707-5F97579A36D9}" dt="2023-06-27T09:35:15.065" v="37"/>
            <ac:picMkLst>
              <pc:docMk/>
              <pc:sldMasterMk cId="2253695231" sldId="2147483754"/>
              <pc:sldLayoutMk cId="1977547776" sldId="2147483928"/>
              <ac:picMk id="9" creationId="{B6029AA7-1707-C3BB-66C4-0FEC66AAED61}"/>
            </ac:picMkLst>
          </pc:picChg>
        </pc:sldLayoutChg>
        <pc:sldLayoutChg chg="addSp delSp modSp mod">
          <pc:chgData name="Hans Gelissen (DHL SSC Maastricht)" userId="1afa8510-4eed-4b73-a29e-678838cd8acd" providerId="ADAL" clId="{5DC7728A-B193-4E42-B707-5F97579A36D9}" dt="2023-06-27T09:35:17.136" v="39"/>
          <pc:sldLayoutMkLst>
            <pc:docMk/>
            <pc:sldMasterMk cId="2253695231" sldId="2147483754"/>
            <pc:sldLayoutMk cId="2904998504" sldId="2147483974"/>
          </pc:sldLayoutMkLst>
          <pc:spChg chg="mod">
            <ac:chgData name="Hans Gelissen (DHL SSC Maastricht)" userId="1afa8510-4eed-4b73-a29e-678838cd8acd" providerId="ADAL" clId="{5DC7728A-B193-4E42-B707-5F97579A36D9}" dt="2023-06-27T09:35:17.136" v="39"/>
            <ac:spMkLst>
              <pc:docMk/>
              <pc:sldMasterMk cId="2253695231" sldId="2147483754"/>
              <pc:sldLayoutMk cId="2904998504" sldId="2147483974"/>
              <ac:spMk id="6" creationId="{33758B7B-40C0-B729-9069-F657C381D72D}"/>
            </ac:spMkLst>
          </pc:spChg>
          <pc:grpChg chg="add mod">
            <ac:chgData name="Hans Gelissen (DHL SSC Maastricht)" userId="1afa8510-4eed-4b73-a29e-678838cd8acd" providerId="ADAL" clId="{5DC7728A-B193-4E42-B707-5F97579A36D9}" dt="2023-06-27T09:35:17.136" v="39"/>
            <ac:grpSpMkLst>
              <pc:docMk/>
              <pc:sldMasterMk cId="2253695231" sldId="2147483754"/>
              <pc:sldLayoutMk cId="2904998504" sldId="2147483974"/>
              <ac:grpSpMk id="2" creationId="{BC77738E-1E5F-79DC-445F-DAA3B205B7B3}"/>
            </ac:grpSpMkLst>
          </pc:grpChg>
          <pc:grpChg chg="del">
            <ac:chgData name="Hans Gelissen (DHL SSC Maastricht)" userId="1afa8510-4eed-4b73-a29e-678838cd8acd" providerId="ADAL" clId="{5DC7728A-B193-4E42-B707-5F97579A36D9}" dt="2023-06-27T09:34:41.350" v="22" actId="478"/>
            <ac:grpSpMkLst>
              <pc:docMk/>
              <pc:sldMasterMk cId="2253695231" sldId="2147483754"/>
              <pc:sldLayoutMk cId="2904998504" sldId="2147483974"/>
              <ac:grpSpMk id="65" creationId="{1BDED68A-58CE-477A-8081-6078BF2E6B86}"/>
            </ac:grpSpMkLst>
          </pc:grpChg>
          <pc:picChg chg="mod">
            <ac:chgData name="Hans Gelissen (DHL SSC Maastricht)" userId="1afa8510-4eed-4b73-a29e-678838cd8acd" providerId="ADAL" clId="{5DC7728A-B193-4E42-B707-5F97579A36D9}" dt="2023-06-27T09:35:17.136" v="39"/>
            <ac:picMkLst>
              <pc:docMk/>
              <pc:sldMasterMk cId="2253695231" sldId="2147483754"/>
              <pc:sldLayoutMk cId="2904998504" sldId="2147483974"/>
              <ac:picMk id="7" creationId="{DF189606-D64C-3CAD-CFE1-ABA763AD0727}"/>
            </ac:picMkLst>
          </pc:picChg>
          <pc:picChg chg="mod">
            <ac:chgData name="Hans Gelissen (DHL SSC Maastricht)" userId="1afa8510-4eed-4b73-a29e-678838cd8acd" providerId="ADAL" clId="{5DC7728A-B193-4E42-B707-5F97579A36D9}" dt="2023-06-27T09:35:17.136" v="39"/>
            <ac:picMkLst>
              <pc:docMk/>
              <pc:sldMasterMk cId="2253695231" sldId="2147483754"/>
              <pc:sldLayoutMk cId="2904998504" sldId="2147483974"/>
              <ac:picMk id="8" creationId="{1DD7633B-F760-E395-157B-55FD8FD547C9}"/>
            </ac:picMkLst>
          </pc:picChg>
          <pc:picChg chg="mod">
            <ac:chgData name="Hans Gelissen (DHL SSC Maastricht)" userId="1afa8510-4eed-4b73-a29e-678838cd8acd" providerId="ADAL" clId="{5DC7728A-B193-4E42-B707-5F97579A36D9}" dt="2023-06-27T09:35:17.136" v="39"/>
            <ac:picMkLst>
              <pc:docMk/>
              <pc:sldMasterMk cId="2253695231" sldId="2147483754"/>
              <pc:sldLayoutMk cId="2904998504" sldId="2147483974"/>
              <ac:picMk id="9" creationId="{1FD53DCD-6951-926D-67CB-10C06DE8127A}"/>
            </ac:picMkLst>
          </pc:picChg>
        </pc:sldLayoutChg>
        <pc:sldLayoutChg chg="addSp delSp modSp mod">
          <pc:chgData name="Hans Gelissen (DHL SSC Maastricht)" userId="1afa8510-4eed-4b73-a29e-678838cd8acd" providerId="ADAL" clId="{5DC7728A-B193-4E42-B707-5F97579A36D9}" dt="2023-06-27T09:35:18.060" v="40"/>
          <pc:sldLayoutMkLst>
            <pc:docMk/>
            <pc:sldMasterMk cId="2253695231" sldId="2147483754"/>
            <pc:sldLayoutMk cId="40428502" sldId="2147483975"/>
          </pc:sldLayoutMkLst>
          <pc:spChg chg="mod">
            <ac:chgData name="Hans Gelissen (DHL SSC Maastricht)" userId="1afa8510-4eed-4b73-a29e-678838cd8acd" providerId="ADAL" clId="{5DC7728A-B193-4E42-B707-5F97579A36D9}" dt="2023-06-27T09:35:18.060" v="40"/>
            <ac:spMkLst>
              <pc:docMk/>
              <pc:sldMasterMk cId="2253695231" sldId="2147483754"/>
              <pc:sldLayoutMk cId="40428502" sldId="2147483975"/>
              <ac:spMk id="6" creationId="{AB5926DE-6D18-24F7-76A3-4B1ED049FBCE}"/>
            </ac:spMkLst>
          </pc:spChg>
          <pc:grpChg chg="add mod">
            <ac:chgData name="Hans Gelissen (DHL SSC Maastricht)" userId="1afa8510-4eed-4b73-a29e-678838cd8acd" providerId="ADAL" clId="{5DC7728A-B193-4E42-B707-5F97579A36D9}" dt="2023-06-27T09:35:18.060" v="40"/>
            <ac:grpSpMkLst>
              <pc:docMk/>
              <pc:sldMasterMk cId="2253695231" sldId="2147483754"/>
              <pc:sldLayoutMk cId="40428502" sldId="2147483975"/>
              <ac:grpSpMk id="2" creationId="{9A0A3853-7AA8-B58E-3AF0-8FC99F17D3BC}"/>
            </ac:grpSpMkLst>
          </pc:grpChg>
          <pc:grpChg chg="del">
            <ac:chgData name="Hans Gelissen (DHL SSC Maastricht)" userId="1afa8510-4eed-4b73-a29e-678838cd8acd" providerId="ADAL" clId="{5DC7728A-B193-4E42-B707-5F97579A36D9}" dt="2023-06-27T09:34:43.360" v="23" actId="478"/>
            <ac:grpSpMkLst>
              <pc:docMk/>
              <pc:sldMasterMk cId="2253695231" sldId="2147483754"/>
              <pc:sldLayoutMk cId="40428502" sldId="2147483975"/>
              <ac:grpSpMk id="65" creationId="{1BDED68A-58CE-477A-8081-6078BF2E6B86}"/>
            </ac:grpSpMkLst>
          </pc:grpChg>
          <pc:picChg chg="mod">
            <ac:chgData name="Hans Gelissen (DHL SSC Maastricht)" userId="1afa8510-4eed-4b73-a29e-678838cd8acd" providerId="ADAL" clId="{5DC7728A-B193-4E42-B707-5F97579A36D9}" dt="2023-06-27T09:35:18.060" v="40"/>
            <ac:picMkLst>
              <pc:docMk/>
              <pc:sldMasterMk cId="2253695231" sldId="2147483754"/>
              <pc:sldLayoutMk cId="40428502" sldId="2147483975"/>
              <ac:picMk id="7" creationId="{BA2DE7B0-A997-A4AF-1469-A1DBD15EDDBA}"/>
            </ac:picMkLst>
          </pc:picChg>
          <pc:picChg chg="mod">
            <ac:chgData name="Hans Gelissen (DHL SSC Maastricht)" userId="1afa8510-4eed-4b73-a29e-678838cd8acd" providerId="ADAL" clId="{5DC7728A-B193-4E42-B707-5F97579A36D9}" dt="2023-06-27T09:35:18.060" v="40"/>
            <ac:picMkLst>
              <pc:docMk/>
              <pc:sldMasterMk cId="2253695231" sldId="2147483754"/>
              <pc:sldLayoutMk cId="40428502" sldId="2147483975"/>
              <ac:picMk id="8" creationId="{142BBA0B-4195-43EF-84F9-EDB5B51C53F2}"/>
            </ac:picMkLst>
          </pc:picChg>
          <pc:picChg chg="mod">
            <ac:chgData name="Hans Gelissen (DHL SSC Maastricht)" userId="1afa8510-4eed-4b73-a29e-678838cd8acd" providerId="ADAL" clId="{5DC7728A-B193-4E42-B707-5F97579A36D9}" dt="2023-06-27T09:35:18.060" v="40"/>
            <ac:picMkLst>
              <pc:docMk/>
              <pc:sldMasterMk cId="2253695231" sldId="2147483754"/>
              <pc:sldLayoutMk cId="40428502" sldId="2147483975"/>
              <ac:picMk id="9" creationId="{C6345F75-5260-A610-FE9E-1E8C62DC2DF5}"/>
            </ac:picMkLst>
          </pc:picChg>
        </pc:sldLayoutChg>
        <pc:sldLayoutChg chg="addSp delSp modSp mod">
          <pc:chgData name="Hans Gelissen (DHL SSC Maastricht)" userId="1afa8510-4eed-4b73-a29e-678838cd8acd" providerId="ADAL" clId="{5DC7728A-B193-4E42-B707-5F97579A36D9}" dt="2023-06-27T09:35:15.905" v="38"/>
          <pc:sldLayoutMkLst>
            <pc:docMk/>
            <pc:sldMasterMk cId="2253695231" sldId="2147483754"/>
            <pc:sldLayoutMk cId="2180802559" sldId="2147483976"/>
          </pc:sldLayoutMkLst>
          <pc:spChg chg="mod">
            <ac:chgData name="Hans Gelissen (DHL SSC Maastricht)" userId="1afa8510-4eed-4b73-a29e-678838cd8acd" providerId="ADAL" clId="{5DC7728A-B193-4E42-B707-5F97579A36D9}" dt="2023-06-27T09:35:15.905" v="38"/>
            <ac:spMkLst>
              <pc:docMk/>
              <pc:sldMasterMk cId="2253695231" sldId="2147483754"/>
              <pc:sldLayoutMk cId="2180802559" sldId="2147483976"/>
              <ac:spMk id="6" creationId="{A4739A1B-4BE1-4ED4-C6B7-F14CDEA6D730}"/>
            </ac:spMkLst>
          </pc:spChg>
          <pc:grpChg chg="add mod">
            <ac:chgData name="Hans Gelissen (DHL SSC Maastricht)" userId="1afa8510-4eed-4b73-a29e-678838cd8acd" providerId="ADAL" clId="{5DC7728A-B193-4E42-B707-5F97579A36D9}" dt="2023-06-27T09:35:15.905" v="38"/>
            <ac:grpSpMkLst>
              <pc:docMk/>
              <pc:sldMasterMk cId="2253695231" sldId="2147483754"/>
              <pc:sldLayoutMk cId="2180802559" sldId="2147483976"/>
              <ac:grpSpMk id="2" creationId="{B2D4EBE8-CEE6-E3C2-5CA9-5E656E4E1C2D}"/>
            </ac:grpSpMkLst>
          </pc:grpChg>
          <pc:grpChg chg="del">
            <ac:chgData name="Hans Gelissen (DHL SSC Maastricht)" userId="1afa8510-4eed-4b73-a29e-678838cd8acd" providerId="ADAL" clId="{5DC7728A-B193-4E42-B707-5F97579A36D9}" dt="2023-06-27T09:34:39.610" v="21" actId="478"/>
            <ac:grpSpMkLst>
              <pc:docMk/>
              <pc:sldMasterMk cId="2253695231" sldId="2147483754"/>
              <pc:sldLayoutMk cId="2180802559" sldId="2147483976"/>
              <ac:grpSpMk id="65" creationId="{1BDED68A-58CE-477A-8081-6078BF2E6B86}"/>
            </ac:grpSpMkLst>
          </pc:grpChg>
          <pc:picChg chg="mod">
            <ac:chgData name="Hans Gelissen (DHL SSC Maastricht)" userId="1afa8510-4eed-4b73-a29e-678838cd8acd" providerId="ADAL" clId="{5DC7728A-B193-4E42-B707-5F97579A36D9}" dt="2023-06-27T09:35:15.905" v="38"/>
            <ac:picMkLst>
              <pc:docMk/>
              <pc:sldMasterMk cId="2253695231" sldId="2147483754"/>
              <pc:sldLayoutMk cId="2180802559" sldId="2147483976"/>
              <ac:picMk id="7" creationId="{85AFAE57-355C-62E9-E403-BA1D560DEB50}"/>
            </ac:picMkLst>
          </pc:picChg>
          <pc:picChg chg="mod">
            <ac:chgData name="Hans Gelissen (DHL SSC Maastricht)" userId="1afa8510-4eed-4b73-a29e-678838cd8acd" providerId="ADAL" clId="{5DC7728A-B193-4E42-B707-5F97579A36D9}" dt="2023-06-27T09:35:15.905" v="38"/>
            <ac:picMkLst>
              <pc:docMk/>
              <pc:sldMasterMk cId="2253695231" sldId="2147483754"/>
              <pc:sldLayoutMk cId="2180802559" sldId="2147483976"/>
              <ac:picMk id="8" creationId="{AEA50F90-3DF4-6476-DF1A-7B745CBB17E4}"/>
            </ac:picMkLst>
          </pc:picChg>
          <pc:picChg chg="mod">
            <ac:chgData name="Hans Gelissen (DHL SSC Maastricht)" userId="1afa8510-4eed-4b73-a29e-678838cd8acd" providerId="ADAL" clId="{5DC7728A-B193-4E42-B707-5F97579A36D9}" dt="2023-06-27T09:35:15.905" v="38"/>
            <ac:picMkLst>
              <pc:docMk/>
              <pc:sldMasterMk cId="2253695231" sldId="2147483754"/>
              <pc:sldLayoutMk cId="2180802559" sldId="2147483976"/>
              <ac:picMk id="9" creationId="{5F951137-54CE-1672-1D9C-3836C23760B0}"/>
            </ac:picMkLst>
          </pc:picChg>
        </pc:sldLayoutChg>
      </pc:sldMasterChg>
      <pc:sldMasterChg chg="modSldLayout">
        <pc:chgData name="Hans Gelissen (DHL SSC Maastricht)" userId="1afa8510-4eed-4b73-a29e-678838cd8acd" providerId="ADAL" clId="{5DC7728A-B193-4E42-B707-5F97579A36D9}" dt="2023-06-27T09:36:02.419" v="72"/>
        <pc:sldMasterMkLst>
          <pc:docMk/>
          <pc:sldMasterMk cId="2791372136" sldId="2147483777"/>
        </pc:sldMasterMkLst>
        <pc:sldLayoutChg chg="addSp delSp modSp mod">
          <pc:chgData name="Hans Gelissen (DHL SSC Maastricht)" userId="1afa8510-4eed-4b73-a29e-678838cd8acd" providerId="ADAL" clId="{5DC7728A-B193-4E42-B707-5F97579A36D9}" dt="2023-06-27T09:36:02.419" v="72"/>
          <pc:sldLayoutMkLst>
            <pc:docMk/>
            <pc:sldMasterMk cId="2791372136" sldId="2147483777"/>
            <pc:sldLayoutMk cId="1312088382" sldId="2147483778"/>
          </pc:sldLayoutMkLst>
          <pc:spChg chg="mod">
            <ac:chgData name="Hans Gelissen (DHL SSC Maastricht)" userId="1afa8510-4eed-4b73-a29e-678838cd8acd" providerId="ADAL" clId="{5DC7728A-B193-4E42-B707-5F97579A36D9}" dt="2023-06-27T09:36:02.419" v="72"/>
            <ac:spMkLst>
              <pc:docMk/>
              <pc:sldMasterMk cId="2791372136" sldId="2147483777"/>
              <pc:sldLayoutMk cId="1312088382" sldId="2147483778"/>
              <ac:spMk id="3" creationId="{5065638E-8872-1A62-CEA8-22B7C594ECCA}"/>
            </ac:spMkLst>
          </pc:spChg>
          <pc:grpChg chg="add mod">
            <ac:chgData name="Hans Gelissen (DHL SSC Maastricht)" userId="1afa8510-4eed-4b73-a29e-678838cd8acd" providerId="ADAL" clId="{5DC7728A-B193-4E42-B707-5F97579A36D9}" dt="2023-06-27T09:36:02.419" v="72"/>
            <ac:grpSpMkLst>
              <pc:docMk/>
              <pc:sldMasterMk cId="2791372136" sldId="2147483777"/>
              <pc:sldLayoutMk cId="1312088382" sldId="2147483778"/>
              <ac:grpSpMk id="2" creationId="{64636D2D-766F-2175-AB89-8492205155E3}"/>
            </ac:grpSpMkLst>
          </pc:grpChg>
          <pc:grpChg chg="del">
            <ac:chgData name="Hans Gelissen (DHL SSC Maastricht)" userId="1afa8510-4eed-4b73-a29e-678838cd8acd" providerId="ADAL" clId="{5DC7728A-B193-4E42-B707-5F97579A36D9}" dt="2023-06-27T09:35:24.885" v="41" actId="478"/>
            <ac:grpSpMkLst>
              <pc:docMk/>
              <pc:sldMasterMk cId="2791372136" sldId="2147483777"/>
              <pc:sldLayoutMk cId="1312088382" sldId="2147483778"/>
              <ac:grpSpMk id="19" creationId="{415A3D1A-37E6-49DF-9012-F8D327340F26}"/>
            </ac:grpSpMkLst>
          </pc:grpChg>
          <pc:picChg chg="mod">
            <ac:chgData name="Hans Gelissen (DHL SSC Maastricht)" userId="1afa8510-4eed-4b73-a29e-678838cd8acd" providerId="ADAL" clId="{5DC7728A-B193-4E42-B707-5F97579A36D9}" dt="2023-06-27T09:36:02.419" v="72"/>
            <ac:picMkLst>
              <pc:docMk/>
              <pc:sldMasterMk cId="2791372136" sldId="2147483777"/>
              <pc:sldLayoutMk cId="1312088382" sldId="2147483778"/>
              <ac:picMk id="4" creationId="{BE901E51-0E5B-47D1-3CB5-9C339FA13D8D}"/>
            </ac:picMkLst>
          </pc:picChg>
          <pc:picChg chg="mod">
            <ac:chgData name="Hans Gelissen (DHL SSC Maastricht)" userId="1afa8510-4eed-4b73-a29e-678838cd8acd" providerId="ADAL" clId="{5DC7728A-B193-4E42-B707-5F97579A36D9}" dt="2023-06-27T09:36:02.419" v="72"/>
            <ac:picMkLst>
              <pc:docMk/>
              <pc:sldMasterMk cId="2791372136" sldId="2147483777"/>
              <pc:sldLayoutMk cId="1312088382" sldId="2147483778"/>
              <ac:picMk id="5" creationId="{16386E44-7124-FFF1-2E60-7B5BB87DEA7B}"/>
            </ac:picMkLst>
          </pc:picChg>
          <pc:picChg chg="mod">
            <ac:chgData name="Hans Gelissen (DHL SSC Maastricht)" userId="1afa8510-4eed-4b73-a29e-678838cd8acd" providerId="ADAL" clId="{5DC7728A-B193-4E42-B707-5F97579A36D9}" dt="2023-06-27T09:36:02.419" v="72"/>
            <ac:picMkLst>
              <pc:docMk/>
              <pc:sldMasterMk cId="2791372136" sldId="2147483777"/>
              <pc:sldLayoutMk cId="1312088382" sldId="2147483778"/>
              <ac:picMk id="6" creationId="{994A688E-E070-B4D9-9392-53EB59258877}"/>
            </ac:picMkLst>
          </pc:picChg>
        </pc:sldLayoutChg>
        <pc:sldLayoutChg chg="addSp delSp modSp mod">
          <pc:chgData name="Hans Gelissen (DHL SSC Maastricht)" userId="1afa8510-4eed-4b73-a29e-678838cd8acd" providerId="ADAL" clId="{5DC7728A-B193-4E42-B707-5F97579A36D9}" dt="2023-06-27T09:36:01.740" v="71"/>
          <pc:sldLayoutMkLst>
            <pc:docMk/>
            <pc:sldMasterMk cId="2791372136" sldId="2147483777"/>
            <pc:sldLayoutMk cId="1377313598" sldId="2147483779"/>
          </pc:sldLayoutMkLst>
          <pc:spChg chg="mod">
            <ac:chgData name="Hans Gelissen (DHL SSC Maastricht)" userId="1afa8510-4eed-4b73-a29e-678838cd8acd" providerId="ADAL" clId="{5DC7728A-B193-4E42-B707-5F97579A36D9}" dt="2023-06-27T09:36:01.740" v="71"/>
            <ac:spMkLst>
              <pc:docMk/>
              <pc:sldMasterMk cId="2791372136" sldId="2147483777"/>
              <pc:sldLayoutMk cId="1377313598" sldId="2147483779"/>
              <ac:spMk id="3" creationId="{04AEE2FA-0CF8-1975-8801-0196B63F5668}"/>
            </ac:spMkLst>
          </pc:spChg>
          <pc:grpChg chg="add mod">
            <ac:chgData name="Hans Gelissen (DHL SSC Maastricht)" userId="1afa8510-4eed-4b73-a29e-678838cd8acd" providerId="ADAL" clId="{5DC7728A-B193-4E42-B707-5F97579A36D9}" dt="2023-06-27T09:36:01.740" v="71"/>
            <ac:grpSpMkLst>
              <pc:docMk/>
              <pc:sldMasterMk cId="2791372136" sldId="2147483777"/>
              <pc:sldLayoutMk cId="1377313598" sldId="2147483779"/>
              <ac:grpSpMk id="2" creationId="{FB5F193C-C422-A08D-02A3-94B24BAADDDC}"/>
            </ac:grpSpMkLst>
          </pc:grpChg>
          <pc:grpChg chg="del">
            <ac:chgData name="Hans Gelissen (DHL SSC Maastricht)" userId="1afa8510-4eed-4b73-a29e-678838cd8acd" providerId="ADAL" clId="{5DC7728A-B193-4E42-B707-5F97579A36D9}" dt="2023-06-27T09:35:25.927" v="42" actId="478"/>
            <ac:grpSpMkLst>
              <pc:docMk/>
              <pc:sldMasterMk cId="2791372136" sldId="2147483777"/>
              <pc:sldLayoutMk cId="1377313598" sldId="2147483779"/>
              <ac:grpSpMk id="65" creationId="{1BDED68A-58CE-477A-8081-6078BF2E6B86}"/>
            </ac:grpSpMkLst>
          </pc:grpChg>
          <pc:picChg chg="mod">
            <ac:chgData name="Hans Gelissen (DHL SSC Maastricht)" userId="1afa8510-4eed-4b73-a29e-678838cd8acd" providerId="ADAL" clId="{5DC7728A-B193-4E42-B707-5F97579A36D9}" dt="2023-06-27T09:36:01.740" v="71"/>
            <ac:picMkLst>
              <pc:docMk/>
              <pc:sldMasterMk cId="2791372136" sldId="2147483777"/>
              <pc:sldLayoutMk cId="1377313598" sldId="2147483779"/>
              <ac:picMk id="4" creationId="{C6E8B07D-7BC9-D0EE-12C6-9E657CE27536}"/>
            </ac:picMkLst>
          </pc:picChg>
          <pc:picChg chg="mod">
            <ac:chgData name="Hans Gelissen (DHL SSC Maastricht)" userId="1afa8510-4eed-4b73-a29e-678838cd8acd" providerId="ADAL" clId="{5DC7728A-B193-4E42-B707-5F97579A36D9}" dt="2023-06-27T09:36:01.740" v="71"/>
            <ac:picMkLst>
              <pc:docMk/>
              <pc:sldMasterMk cId="2791372136" sldId="2147483777"/>
              <pc:sldLayoutMk cId="1377313598" sldId="2147483779"/>
              <ac:picMk id="5" creationId="{73AA5F0D-19E7-CA8D-5038-8E181FFB52C3}"/>
            </ac:picMkLst>
          </pc:picChg>
          <pc:picChg chg="mod">
            <ac:chgData name="Hans Gelissen (DHL SSC Maastricht)" userId="1afa8510-4eed-4b73-a29e-678838cd8acd" providerId="ADAL" clId="{5DC7728A-B193-4E42-B707-5F97579A36D9}" dt="2023-06-27T09:36:01.740" v="71"/>
            <ac:picMkLst>
              <pc:docMk/>
              <pc:sldMasterMk cId="2791372136" sldId="2147483777"/>
              <pc:sldLayoutMk cId="1377313598" sldId="2147483779"/>
              <ac:picMk id="6" creationId="{CE7166ED-3247-EF3A-FDA5-1BDF4E5F3E7D}"/>
            </ac:picMkLst>
          </pc:picChg>
        </pc:sldLayoutChg>
        <pc:sldLayoutChg chg="addSp delSp modSp mod">
          <pc:chgData name="Hans Gelissen (DHL SSC Maastricht)" userId="1afa8510-4eed-4b73-a29e-678838cd8acd" providerId="ADAL" clId="{5DC7728A-B193-4E42-B707-5F97579A36D9}" dt="2023-06-27T09:35:59.097" v="69"/>
          <pc:sldLayoutMkLst>
            <pc:docMk/>
            <pc:sldMasterMk cId="2791372136" sldId="2147483777"/>
            <pc:sldLayoutMk cId="3116599637" sldId="2147483834"/>
          </pc:sldLayoutMkLst>
          <pc:spChg chg="mod">
            <ac:chgData name="Hans Gelissen (DHL SSC Maastricht)" userId="1afa8510-4eed-4b73-a29e-678838cd8acd" providerId="ADAL" clId="{5DC7728A-B193-4E42-B707-5F97579A36D9}" dt="2023-06-27T09:35:59.097" v="69"/>
            <ac:spMkLst>
              <pc:docMk/>
              <pc:sldMasterMk cId="2791372136" sldId="2147483777"/>
              <pc:sldLayoutMk cId="3116599637" sldId="2147483834"/>
              <ac:spMk id="4" creationId="{A15156EC-A839-7AD6-04CB-B069C0B044D9}"/>
            </ac:spMkLst>
          </pc:spChg>
          <pc:grpChg chg="add mod">
            <ac:chgData name="Hans Gelissen (DHL SSC Maastricht)" userId="1afa8510-4eed-4b73-a29e-678838cd8acd" providerId="ADAL" clId="{5DC7728A-B193-4E42-B707-5F97579A36D9}" dt="2023-06-27T09:35:59.097" v="69"/>
            <ac:grpSpMkLst>
              <pc:docMk/>
              <pc:sldMasterMk cId="2791372136" sldId="2147483777"/>
              <pc:sldLayoutMk cId="3116599637" sldId="2147483834"/>
              <ac:grpSpMk id="2" creationId="{4465189D-0161-2690-8EB6-C76205F9EBFC}"/>
            </ac:grpSpMkLst>
          </pc:grpChg>
          <pc:grpChg chg="del">
            <ac:chgData name="Hans Gelissen (DHL SSC Maastricht)" userId="1afa8510-4eed-4b73-a29e-678838cd8acd" providerId="ADAL" clId="{5DC7728A-B193-4E42-B707-5F97579A36D9}" dt="2023-06-27T09:35:27.904" v="44" actId="478"/>
            <ac:grpSpMkLst>
              <pc:docMk/>
              <pc:sldMasterMk cId="2791372136" sldId="2147483777"/>
              <pc:sldLayoutMk cId="3116599637" sldId="2147483834"/>
              <ac:grpSpMk id="65" creationId="{1BDED68A-58CE-477A-8081-6078BF2E6B86}"/>
            </ac:grpSpMkLst>
          </pc:grpChg>
          <pc:picChg chg="mod">
            <ac:chgData name="Hans Gelissen (DHL SSC Maastricht)" userId="1afa8510-4eed-4b73-a29e-678838cd8acd" providerId="ADAL" clId="{5DC7728A-B193-4E42-B707-5F97579A36D9}" dt="2023-06-27T09:35:59.097" v="69"/>
            <ac:picMkLst>
              <pc:docMk/>
              <pc:sldMasterMk cId="2791372136" sldId="2147483777"/>
              <pc:sldLayoutMk cId="3116599637" sldId="2147483834"/>
              <ac:picMk id="5" creationId="{5F34E7CA-CE61-FEC8-EF2C-403AF351672E}"/>
            </ac:picMkLst>
          </pc:picChg>
          <pc:picChg chg="mod">
            <ac:chgData name="Hans Gelissen (DHL SSC Maastricht)" userId="1afa8510-4eed-4b73-a29e-678838cd8acd" providerId="ADAL" clId="{5DC7728A-B193-4E42-B707-5F97579A36D9}" dt="2023-06-27T09:35:59.097" v="69"/>
            <ac:picMkLst>
              <pc:docMk/>
              <pc:sldMasterMk cId="2791372136" sldId="2147483777"/>
              <pc:sldLayoutMk cId="3116599637" sldId="2147483834"/>
              <ac:picMk id="6" creationId="{86F1F580-966B-F5AD-1320-6CF76D2077FF}"/>
            </ac:picMkLst>
          </pc:picChg>
          <pc:picChg chg="mod">
            <ac:chgData name="Hans Gelissen (DHL SSC Maastricht)" userId="1afa8510-4eed-4b73-a29e-678838cd8acd" providerId="ADAL" clId="{5DC7728A-B193-4E42-B707-5F97579A36D9}" dt="2023-06-27T09:35:59.097" v="69"/>
            <ac:picMkLst>
              <pc:docMk/>
              <pc:sldMasterMk cId="2791372136" sldId="2147483777"/>
              <pc:sldLayoutMk cId="3116599637" sldId="2147483834"/>
              <ac:picMk id="7" creationId="{89F651E4-44CB-E1EF-C7CC-953381AF52CF}"/>
            </ac:picMkLst>
          </pc:picChg>
        </pc:sldLayoutChg>
        <pc:sldLayoutChg chg="addSp delSp modSp mod">
          <pc:chgData name="Hans Gelissen (DHL SSC Maastricht)" userId="1afa8510-4eed-4b73-a29e-678838cd8acd" providerId="ADAL" clId="{5DC7728A-B193-4E42-B707-5F97579A36D9}" dt="2023-06-27T09:35:59.860" v="70"/>
          <pc:sldLayoutMkLst>
            <pc:docMk/>
            <pc:sldMasterMk cId="2791372136" sldId="2147483777"/>
            <pc:sldLayoutMk cId="132838335" sldId="2147483835"/>
          </pc:sldLayoutMkLst>
          <pc:spChg chg="mod">
            <ac:chgData name="Hans Gelissen (DHL SSC Maastricht)" userId="1afa8510-4eed-4b73-a29e-678838cd8acd" providerId="ADAL" clId="{5DC7728A-B193-4E42-B707-5F97579A36D9}" dt="2023-06-27T09:35:59.860" v="70"/>
            <ac:spMkLst>
              <pc:docMk/>
              <pc:sldMasterMk cId="2791372136" sldId="2147483777"/>
              <pc:sldLayoutMk cId="132838335" sldId="2147483835"/>
              <ac:spMk id="3" creationId="{CEE2A1EF-5E0F-6133-5F22-D2F8FE448BE6}"/>
            </ac:spMkLst>
          </pc:spChg>
          <pc:grpChg chg="add mod">
            <ac:chgData name="Hans Gelissen (DHL SSC Maastricht)" userId="1afa8510-4eed-4b73-a29e-678838cd8acd" providerId="ADAL" clId="{5DC7728A-B193-4E42-B707-5F97579A36D9}" dt="2023-06-27T09:35:59.860" v="70"/>
            <ac:grpSpMkLst>
              <pc:docMk/>
              <pc:sldMasterMk cId="2791372136" sldId="2147483777"/>
              <pc:sldLayoutMk cId="132838335" sldId="2147483835"/>
              <ac:grpSpMk id="2" creationId="{44AFBD3F-AD5D-8600-AC6D-EB20C8BA1297}"/>
            </ac:grpSpMkLst>
          </pc:grpChg>
          <pc:grpChg chg="del">
            <ac:chgData name="Hans Gelissen (DHL SSC Maastricht)" userId="1afa8510-4eed-4b73-a29e-678838cd8acd" providerId="ADAL" clId="{5DC7728A-B193-4E42-B707-5F97579A36D9}" dt="2023-06-27T09:35:26.893" v="43" actId="478"/>
            <ac:grpSpMkLst>
              <pc:docMk/>
              <pc:sldMasterMk cId="2791372136" sldId="2147483777"/>
              <pc:sldLayoutMk cId="132838335" sldId="2147483835"/>
              <ac:grpSpMk id="65" creationId="{1BDED68A-58CE-477A-8081-6078BF2E6B86}"/>
            </ac:grpSpMkLst>
          </pc:grpChg>
          <pc:picChg chg="mod">
            <ac:chgData name="Hans Gelissen (DHL SSC Maastricht)" userId="1afa8510-4eed-4b73-a29e-678838cd8acd" providerId="ADAL" clId="{5DC7728A-B193-4E42-B707-5F97579A36D9}" dt="2023-06-27T09:35:59.860" v="70"/>
            <ac:picMkLst>
              <pc:docMk/>
              <pc:sldMasterMk cId="2791372136" sldId="2147483777"/>
              <pc:sldLayoutMk cId="132838335" sldId="2147483835"/>
              <ac:picMk id="4" creationId="{B679AF60-A914-C7F9-CE72-D93C89E049DF}"/>
            </ac:picMkLst>
          </pc:picChg>
          <pc:picChg chg="mod">
            <ac:chgData name="Hans Gelissen (DHL SSC Maastricht)" userId="1afa8510-4eed-4b73-a29e-678838cd8acd" providerId="ADAL" clId="{5DC7728A-B193-4E42-B707-5F97579A36D9}" dt="2023-06-27T09:35:59.860" v="70"/>
            <ac:picMkLst>
              <pc:docMk/>
              <pc:sldMasterMk cId="2791372136" sldId="2147483777"/>
              <pc:sldLayoutMk cId="132838335" sldId="2147483835"/>
              <ac:picMk id="5" creationId="{0B81CACC-91FB-66E5-1BBB-17ABAD266478}"/>
            </ac:picMkLst>
          </pc:picChg>
          <pc:picChg chg="mod">
            <ac:chgData name="Hans Gelissen (DHL SSC Maastricht)" userId="1afa8510-4eed-4b73-a29e-678838cd8acd" providerId="ADAL" clId="{5DC7728A-B193-4E42-B707-5F97579A36D9}" dt="2023-06-27T09:35:59.860" v="70"/>
            <ac:picMkLst>
              <pc:docMk/>
              <pc:sldMasterMk cId="2791372136" sldId="2147483777"/>
              <pc:sldLayoutMk cId="132838335" sldId="2147483835"/>
              <ac:picMk id="6" creationId="{EF3F2945-0234-4EC6-335F-23EE6BDF7D02}"/>
            </ac:picMkLst>
          </pc:picChg>
        </pc:sldLayoutChg>
        <pc:sldLayoutChg chg="addSp delSp modSp mod">
          <pc:chgData name="Hans Gelissen (DHL SSC Maastricht)" userId="1afa8510-4eed-4b73-a29e-678838cd8acd" providerId="ADAL" clId="{5DC7728A-B193-4E42-B707-5F97579A36D9}" dt="2023-06-27T09:35:58.287" v="68"/>
          <pc:sldLayoutMkLst>
            <pc:docMk/>
            <pc:sldMasterMk cId="2791372136" sldId="2147483777"/>
            <pc:sldLayoutMk cId="2840415572" sldId="2147483877"/>
          </pc:sldLayoutMkLst>
          <pc:spChg chg="mod">
            <ac:chgData name="Hans Gelissen (DHL SSC Maastricht)" userId="1afa8510-4eed-4b73-a29e-678838cd8acd" providerId="ADAL" clId="{5DC7728A-B193-4E42-B707-5F97579A36D9}" dt="2023-06-27T09:35:58.287" v="68"/>
            <ac:spMkLst>
              <pc:docMk/>
              <pc:sldMasterMk cId="2791372136" sldId="2147483777"/>
              <pc:sldLayoutMk cId="2840415572" sldId="2147483877"/>
              <ac:spMk id="4" creationId="{B1D882F3-929B-7F2A-77D4-7F9B9F0AC473}"/>
            </ac:spMkLst>
          </pc:spChg>
          <pc:grpChg chg="add mod">
            <ac:chgData name="Hans Gelissen (DHL SSC Maastricht)" userId="1afa8510-4eed-4b73-a29e-678838cd8acd" providerId="ADAL" clId="{5DC7728A-B193-4E42-B707-5F97579A36D9}" dt="2023-06-27T09:35:58.287" v="68"/>
            <ac:grpSpMkLst>
              <pc:docMk/>
              <pc:sldMasterMk cId="2791372136" sldId="2147483777"/>
              <pc:sldLayoutMk cId="2840415572" sldId="2147483877"/>
              <ac:grpSpMk id="2" creationId="{79B48FD4-C636-D21C-6736-011505A2773A}"/>
            </ac:grpSpMkLst>
          </pc:grpChg>
          <pc:grpChg chg="del">
            <ac:chgData name="Hans Gelissen (DHL SSC Maastricht)" userId="1afa8510-4eed-4b73-a29e-678838cd8acd" providerId="ADAL" clId="{5DC7728A-B193-4E42-B707-5F97579A36D9}" dt="2023-06-27T09:35:28.899" v="45" actId="478"/>
            <ac:grpSpMkLst>
              <pc:docMk/>
              <pc:sldMasterMk cId="2791372136" sldId="2147483777"/>
              <pc:sldLayoutMk cId="2840415572" sldId="2147483877"/>
              <ac:grpSpMk id="65" creationId="{1BDED68A-58CE-477A-8081-6078BF2E6B86}"/>
            </ac:grpSpMkLst>
          </pc:grpChg>
          <pc:picChg chg="mod">
            <ac:chgData name="Hans Gelissen (DHL SSC Maastricht)" userId="1afa8510-4eed-4b73-a29e-678838cd8acd" providerId="ADAL" clId="{5DC7728A-B193-4E42-B707-5F97579A36D9}" dt="2023-06-27T09:35:58.287" v="68"/>
            <ac:picMkLst>
              <pc:docMk/>
              <pc:sldMasterMk cId="2791372136" sldId="2147483777"/>
              <pc:sldLayoutMk cId="2840415572" sldId="2147483877"/>
              <ac:picMk id="5" creationId="{77D59EB9-0222-F9DB-29E1-659319A1A3DB}"/>
            </ac:picMkLst>
          </pc:picChg>
          <pc:picChg chg="mod">
            <ac:chgData name="Hans Gelissen (DHL SSC Maastricht)" userId="1afa8510-4eed-4b73-a29e-678838cd8acd" providerId="ADAL" clId="{5DC7728A-B193-4E42-B707-5F97579A36D9}" dt="2023-06-27T09:35:58.287" v="68"/>
            <ac:picMkLst>
              <pc:docMk/>
              <pc:sldMasterMk cId="2791372136" sldId="2147483777"/>
              <pc:sldLayoutMk cId="2840415572" sldId="2147483877"/>
              <ac:picMk id="6" creationId="{7AFAF643-4D94-1A70-BF26-2DE352681940}"/>
            </ac:picMkLst>
          </pc:picChg>
          <pc:picChg chg="mod">
            <ac:chgData name="Hans Gelissen (DHL SSC Maastricht)" userId="1afa8510-4eed-4b73-a29e-678838cd8acd" providerId="ADAL" clId="{5DC7728A-B193-4E42-B707-5F97579A36D9}" dt="2023-06-27T09:35:58.287" v="68"/>
            <ac:picMkLst>
              <pc:docMk/>
              <pc:sldMasterMk cId="2791372136" sldId="2147483777"/>
              <pc:sldLayoutMk cId="2840415572" sldId="2147483877"/>
              <ac:picMk id="7" creationId="{BD238BFD-5C7B-CB54-873B-F518D1CD063B}"/>
            </ac:picMkLst>
          </pc:picChg>
        </pc:sldLayoutChg>
        <pc:sldLayoutChg chg="addSp delSp modSp mod">
          <pc:chgData name="Hans Gelissen (DHL SSC Maastricht)" userId="1afa8510-4eed-4b73-a29e-678838cd8acd" providerId="ADAL" clId="{5DC7728A-B193-4E42-B707-5F97579A36D9}" dt="2023-06-27T09:35:54.851" v="66"/>
          <pc:sldLayoutMkLst>
            <pc:docMk/>
            <pc:sldMasterMk cId="2791372136" sldId="2147483777"/>
            <pc:sldLayoutMk cId="2714381034" sldId="2147483878"/>
          </pc:sldLayoutMkLst>
          <pc:spChg chg="mod">
            <ac:chgData name="Hans Gelissen (DHL SSC Maastricht)" userId="1afa8510-4eed-4b73-a29e-678838cd8acd" providerId="ADAL" clId="{5DC7728A-B193-4E42-B707-5F97579A36D9}" dt="2023-06-27T09:35:54.851" v="66"/>
            <ac:spMkLst>
              <pc:docMk/>
              <pc:sldMasterMk cId="2791372136" sldId="2147483777"/>
              <pc:sldLayoutMk cId="2714381034" sldId="2147483878"/>
              <ac:spMk id="4" creationId="{70B9BD01-D732-2BD3-A1D1-DF2FE3C6D0AC}"/>
            </ac:spMkLst>
          </pc:spChg>
          <pc:grpChg chg="add mod">
            <ac:chgData name="Hans Gelissen (DHL SSC Maastricht)" userId="1afa8510-4eed-4b73-a29e-678838cd8acd" providerId="ADAL" clId="{5DC7728A-B193-4E42-B707-5F97579A36D9}" dt="2023-06-27T09:35:54.851" v="66"/>
            <ac:grpSpMkLst>
              <pc:docMk/>
              <pc:sldMasterMk cId="2791372136" sldId="2147483777"/>
              <pc:sldLayoutMk cId="2714381034" sldId="2147483878"/>
              <ac:grpSpMk id="2" creationId="{956E9473-2548-2170-2964-117767E07F29}"/>
            </ac:grpSpMkLst>
          </pc:grpChg>
          <pc:grpChg chg="del">
            <ac:chgData name="Hans Gelissen (DHL SSC Maastricht)" userId="1afa8510-4eed-4b73-a29e-678838cd8acd" providerId="ADAL" clId="{5DC7728A-B193-4E42-B707-5F97579A36D9}" dt="2023-06-27T09:35:29.940" v="46" actId="478"/>
            <ac:grpSpMkLst>
              <pc:docMk/>
              <pc:sldMasterMk cId="2791372136" sldId="2147483777"/>
              <pc:sldLayoutMk cId="2714381034" sldId="2147483878"/>
              <ac:grpSpMk id="65" creationId="{1BDED68A-58CE-477A-8081-6078BF2E6B86}"/>
            </ac:grpSpMkLst>
          </pc:grpChg>
          <pc:picChg chg="mod">
            <ac:chgData name="Hans Gelissen (DHL SSC Maastricht)" userId="1afa8510-4eed-4b73-a29e-678838cd8acd" providerId="ADAL" clId="{5DC7728A-B193-4E42-B707-5F97579A36D9}" dt="2023-06-27T09:35:54.851" v="66"/>
            <ac:picMkLst>
              <pc:docMk/>
              <pc:sldMasterMk cId="2791372136" sldId="2147483777"/>
              <pc:sldLayoutMk cId="2714381034" sldId="2147483878"/>
              <ac:picMk id="5" creationId="{D886544A-0965-E24C-4CBB-5E0479798E61}"/>
            </ac:picMkLst>
          </pc:picChg>
          <pc:picChg chg="mod">
            <ac:chgData name="Hans Gelissen (DHL SSC Maastricht)" userId="1afa8510-4eed-4b73-a29e-678838cd8acd" providerId="ADAL" clId="{5DC7728A-B193-4E42-B707-5F97579A36D9}" dt="2023-06-27T09:35:54.851" v="66"/>
            <ac:picMkLst>
              <pc:docMk/>
              <pc:sldMasterMk cId="2791372136" sldId="2147483777"/>
              <pc:sldLayoutMk cId="2714381034" sldId="2147483878"/>
              <ac:picMk id="6" creationId="{3B0F394E-649C-E31F-DE95-E6FC26ECBDF8}"/>
            </ac:picMkLst>
          </pc:picChg>
          <pc:picChg chg="mod">
            <ac:chgData name="Hans Gelissen (DHL SSC Maastricht)" userId="1afa8510-4eed-4b73-a29e-678838cd8acd" providerId="ADAL" clId="{5DC7728A-B193-4E42-B707-5F97579A36D9}" dt="2023-06-27T09:35:54.851" v="66"/>
            <ac:picMkLst>
              <pc:docMk/>
              <pc:sldMasterMk cId="2791372136" sldId="2147483777"/>
              <pc:sldLayoutMk cId="2714381034" sldId="2147483878"/>
              <ac:picMk id="7" creationId="{4EDB68D2-CBDA-C814-893D-1BEC3B8F83C2}"/>
            </ac:picMkLst>
          </pc:picChg>
        </pc:sldLayoutChg>
        <pc:sldLayoutChg chg="addSp delSp modSp mod">
          <pc:chgData name="Hans Gelissen (DHL SSC Maastricht)" userId="1afa8510-4eed-4b73-a29e-678838cd8acd" providerId="ADAL" clId="{5DC7728A-B193-4E42-B707-5F97579A36D9}" dt="2023-06-27T09:35:56.904" v="67"/>
          <pc:sldLayoutMkLst>
            <pc:docMk/>
            <pc:sldMasterMk cId="2791372136" sldId="2147483777"/>
            <pc:sldLayoutMk cId="3714924026" sldId="2147483879"/>
          </pc:sldLayoutMkLst>
          <pc:spChg chg="mod">
            <ac:chgData name="Hans Gelissen (DHL SSC Maastricht)" userId="1afa8510-4eed-4b73-a29e-678838cd8acd" providerId="ADAL" clId="{5DC7728A-B193-4E42-B707-5F97579A36D9}" dt="2023-06-27T09:35:56.904" v="67"/>
            <ac:spMkLst>
              <pc:docMk/>
              <pc:sldMasterMk cId="2791372136" sldId="2147483777"/>
              <pc:sldLayoutMk cId="3714924026" sldId="2147483879"/>
              <ac:spMk id="4" creationId="{3F8D2354-D0E1-D6B3-DFD5-B012C6761A03}"/>
            </ac:spMkLst>
          </pc:spChg>
          <pc:grpChg chg="add mod">
            <ac:chgData name="Hans Gelissen (DHL SSC Maastricht)" userId="1afa8510-4eed-4b73-a29e-678838cd8acd" providerId="ADAL" clId="{5DC7728A-B193-4E42-B707-5F97579A36D9}" dt="2023-06-27T09:35:56.904" v="67"/>
            <ac:grpSpMkLst>
              <pc:docMk/>
              <pc:sldMasterMk cId="2791372136" sldId="2147483777"/>
              <pc:sldLayoutMk cId="3714924026" sldId="2147483879"/>
              <ac:grpSpMk id="2" creationId="{4313731B-2807-1FB9-5BA8-0CBBE800BF6F}"/>
            </ac:grpSpMkLst>
          </pc:grpChg>
          <pc:grpChg chg="del">
            <ac:chgData name="Hans Gelissen (DHL SSC Maastricht)" userId="1afa8510-4eed-4b73-a29e-678838cd8acd" providerId="ADAL" clId="{5DC7728A-B193-4E42-B707-5F97579A36D9}" dt="2023-06-27T09:35:31.008" v="47" actId="478"/>
            <ac:grpSpMkLst>
              <pc:docMk/>
              <pc:sldMasterMk cId="2791372136" sldId="2147483777"/>
              <pc:sldLayoutMk cId="3714924026" sldId="2147483879"/>
              <ac:grpSpMk id="65" creationId="{1BDED68A-58CE-477A-8081-6078BF2E6B86}"/>
            </ac:grpSpMkLst>
          </pc:grpChg>
          <pc:picChg chg="mod">
            <ac:chgData name="Hans Gelissen (DHL SSC Maastricht)" userId="1afa8510-4eed-4b73-a29e-678838cd8acd" providerId="ADAL" clId="{5DC7728A-B193-4E42-B707-5F97579A36D9}" dt="2023-06-27T09:35:56.904" v="67"/>
            <ac:picMkLst>
              <pc:docMk/>
              <pc:sldMasterMk cId="2791372136" sldId="2147483777"/>
              <pc:sldLayoutMk cId="3714924026" sldId="2147483879"/>
              <ac:picMk id="5" creationId="{E81F2608-3CD9-27C5-9E50-757617CE6828}"/>
            </ac:picMkLst>
          </pc:picChg>
          <pc:picChg chg="mod">
            <ac:chgData name="Hans Gelissen (DHL SSC Maastricht)" userId="1afa8510-4eed-4b73-a29e-678838cd8acd" providerId="ADAL" clId="{5DC7728A-B193-4E42-B707-5F97579A36D9}" dt="2023-06-27T09:35:56.904" v="67"/>
            <ac:picMkLst>
              <pc:docMk/>
              <pc:sldMasterMk cId="2791372136" sldId="2147483777"/>
              <pc:sldLayoutMk cId="3714924026" sldId="2147483879"/>
              <ac:picMk id="6" creationId="{8EF28EE7-BB10-A215-8466-DF3EE4E0BC2C}"/>
            </ac:picMkLst>
          </pc:picChg>
          <pc:picChg chg="mod">
            <ac:chgData name="Hans Gelissen (DHL SSC Maastricht)" userId="1afa8510-4eed-4b73-a29e-678838cd8acd" providerId="ADAL" clId="{5DC7728A-B193-4E42-B707-5F97579A36D9}" dt="2023-06-27T09:35:56.904" v="67"/>
            <ac:picMkLst>
              <pc:docMk/>
              <pc:sldMasterMk cId="2791372136" sldId="2147483777"/>
              <pc:sldLayoutMk cId="3714924026" sldId="2147483879"/>
              <ac:picMk id="7" creationId="{4799B81D-C347-9873-4092-2E439BF199EC}"/>
            </ac:picMkLst>
          </pc:picChg>
        </pc:sldLayoutChg>
        <pc:sldLayoutChg chg="addSp delSp modSp mod">
          <pc:chgData name="Hans Gelissen (DHL SSC Maastricht)" userId="1afa8510-4eed-4b73-a29e-678838cd8acd" providerId="ADAL" clId="{5DC7728A-B193-4E42-B707-5F97579A36D9}" dt="2023-06-27T09:35:52.576" v="65"/>
          <pc:sldLayoutMkLst>
            <pc:docMk/>
            <pc:sldMasterMk cId="2791372136" sldId="2147483777"/>
            <pc:sldLayoutMk cId="3802747284" sldId="2147483880"/>
          </pc:sldLayoutMkLst>
          <pc:spChg chg="mod">
            <ac:chgData name="Hans Gelissen (DHL SSC Maastricht)" userId="1afa8510-4eed-4b73-a29e-678838cd8acd" providerId="ADAL" clId="{5DC7728A-B193-4E42-B707-5F97579A36D9}" dt="2023-06-27T09:35:52.576" v="65"/>
            <ac:spMkLst>
              <pc:docMk/>
              <pc:sldMasterMk cId="2791372136" sldId="2147483777"/>
              <pc:sldLayoutMk cId="3802747284" sldId="2147483880"/>
              <ac:spMk id="4" creationId="{2B355AB6-D745-7DBC-AC72-ADB90B73F755}"/>
            </ac:spMkLst>
          </pc:spChg>
          <pc:grpChg chg="add mod">
            <ac:chgData name="Hans Gelissen (DHL SSC Maastricht)" userId="1afa8510-4eed-4b73-a29e-678838cd8acd" providerId="ADAL" clId="{5DC7728A-B193-4E42-B707-5F97579A36D9}" dt="2023-06-27T09:35:52.576" v="65"/>
            <ac:grpSpMkLst>
              <pc:docMk/>
              <pc:sldMasterMk cId="2791372136" sldId="2147483777"/>
              <pc:sldLayoutMk cId="3802747284" sldId="2147483880"/>
              <ac:grpSpMk id="2" creationId="{0DE7D188-FF38-24EE-F23D-B3AB809E4F27}"/>
            </ac:grpSpMkLst>
          </pc:grpChg>
          <pc:grpChg chg="del">
            <ac:chgData name="Hans Gelissen (DHL SSC Maastricht)" userId="1afa8510-4eed-4b73-a29e-678838cd8acd" providerId="ADAL" clId="{5DC7728A-B193-4E42-B707-5F97579A36D9}" dt="2023-06-27T09:35:32.036" v="48" actId="478"/>
            <ac:grpSpMkLst>
              <pc:docMk/>
              <pc:sldMasterMk cId="2791372136" sldId="2147483777"/>
              <pc:sldLayoutMk cId="3802747284" sldId="2147483880"/>
              <ac:grpSpMk id="65" creationId="{1BDED68A-58CE-477A-8081-6078BF2E6B86}"/>
            </ac:grpSpMkLst>
          </pc:grpChg>
          <pc:picChg chg="mod">
            <ac:chgData name="Hans Gelissen (DHL SSC Maastricht)" userId="1afa8510-4eed-4b73-a29e-678838cd8acd" providerId="ADAL" clId="{5DC7728A-B193-4E42-B707-5F97579A36D9}" dt="2023-06-27T09:35:52.576" v="65"/>
            <ac:picMkLst>
              <pc:docMk/>
              <pc:sldMasterMk cId="2791372136" sldId="2147483777"/>
              <pc:sldLayoutMk cId="3802747284" sldId="2147483880"/>
              <ac:picMk id="5" creationId="{79A64920-F59B-D835-D40A-C640EC3A18DB}"/>
            </ac:picMkLst>
          </pc:picChg>
          <pc:picChg chg="mod">
            <ac:chgData name="Hans Gelissen (DHL SSC Maastricht)" userId="1afa8510-4eed-4b73-a29e-678838cd8acd" providerId="ADAL" clId="{5DC7728A-B193-4E42-B707-5F97579A36D9}" dt="2023-06-27T09:35:52.576" v="65"/>
            <ac:picMkLst>
              <pc:docMk/>
              <pc:sldMasterMk cId="2791372136" sldId="2147483777"/>
              <pc:sldLayoutMk cId="3802747284" sldId="2147483880"/>
              <ac:picMk id="6" creationId="{8FF40C6A-7EF8-5BD7-443E-EB140690718E}"/>
            </ac:picMkLst>
          </pc:picChg>
          <pc:picChg chg="mod">
            <ac:chgData name="Hans Gelissen (DHL SSC Maastricht)" userId="1afa8510-4eed-4b73-a29e-678838cd8acd" providerId="ADAL" clId="{5DC7728A-B193-4E42-B707-5F97579A36D9}" dt="2023-06-27T09:35:52.576" v="65"/>
            <ac:picMkLst>
              <pc:docMk/>
              <pc:sldMasterMk cId="2791372136" sldId="2147483777"/>
              <pc:sldLayoutMk cId="3802747284" sldId="2147483880"/>
              <ac:picMk id="7" creationId="{A07A7226-E1C8-6E70-6580-0D995858F39C}"/>
            </ac:picMkLst>
          </pc:picChg>
        </pc:sldLayoutChg>
        <pc:sldLayoutChg chg="addSp delSp modSp mod">
          <pc:chgData name="Hans Gelissen (DHL SSC Maastricht)" userId="1afa8510-4eed-4b73-a29e-678838cd8acd" providerId="ADAL" clId="{5DC7728A-B193-4E42-B707-5F97579A36D9}" dt="2023-06-27T09:35:51.819" v="64"/>
          <pc:sldLayoutMkLst>
            <pc:docMk/>
            <pc:sldMasterMk cId="2791372136" sldId="2147483777"/>
            <pc:sldLayoutMk cId="3314331250" sldId="2147483937"/>
          </pc:sldLayoutMkLst>
          <pc:spChg chg="mod">
            <ac:chgData name="Hans Gelissen (DHL SSC Maastricht)" userId="1afa8510-4eed-4b73-a29e-678838cd8acd" providerId="ADAL" clId="{5DC7728A-B193-4E42-B707-5F97579A36D9}" dt="2023-06-27T09:35:51.819" v="64"/>
            <ac:spMkLst>
              <pc:docMk/>
              <pc:sldMasterMk cId="2791372136" sldId="2147483777"/>
              <pc:sldLayoutMk cId="3314331250" sldId="2147483937"/>
              <ac:spMk id="4" creationId="{49677AD9-9927-112B-CD93-C6AB768024F4}"/>
            </ac:spMkLst>
          </pc:spChg>
          <pc:grpChg chg="add mod">
            <ac:chgData name="Hans Gelissen (DHL SSC Maastricht)" userId="1afa8510-4eed-4b73-a29e-678838cd8acd" providerId="ADAL" clId="{5DC7728A-B193-4E42-B707-5F97579A36D9}" dt="2023-06-27T09:35:51.819" v="64"/>
            <ac:grpSpMkLst>
              <pc:docMk/>
              <pc:sldMasterMk cId="2791372136" sldId="2147483777"/>
              <pc:sldLayoutMk cId="3314331250" sldId="2147483937"/>
              <ac:grpSpMk id="2" creationId="{044066E5-D485-B20E-23F8-BA538FE63B76}"/>
            </ac:grpSpMkLst>
          </pc:grpChg>
          <pc:grpChg chg="del">
            <ac:chgData name="Hans Gelissen (DHL SSC Maastricht)" userId="1afa8510-4eed-4b73-a29e-678838cd8acd" providerId="ADAL" clId="{5DC7728A-B193-4E42-B707-5F97579A36D9}" dt="2023-06-27T09:35:32.992" v="49" actId="478"/>
            <ac:grpSpMkLst>
              <pc:docMk/>
              <pc:sldMasterMk cId="2791372136" sldId="2147483777"/>
              <pc:sldLayoutMk cId="3314331250" sldId="2147483937"/>
              <ac:grpSpMk id="65" creationId="{1BDED68A-58CE-477A-8081-6078BF2E6B86}"/>
            </ac:grpSpMkLst>
          </pc:grpChg>
          <pc:picChg chg="mod">
            <ac:chgData name="Hans Gelissen (DHL SSC Maastricht)" userId="1afa8510-4eed-4b73-a29e-678838cd8acd" providerId="ADAL" clId="{5DC7728A-B193-4E42-B707-5F97579A36D9}" dt="2023-06-27T09:35:51.819" v="64"/>
            <ac:picMkLst>
              <pc:docMk/>
              <pc:sldMasterMk cId="2791372136" sldId="2147483777"/>
              <pc:sldLayoutMk cId="3314331250" sldId="2147483937"/>
              <ac:picMk id="5" creationId="{3DF400F2-D7CD-91AC-733C-6A8981AFFA09}"/>
            </ac:picMkLst>
          </pc:picChg>
          <pc:picChg chg="mod">
            <ac:chgData name="Hans Gelissen (DHL SSC Maastricht)" userId="1afa8510-4eed-4b73-a29e-678838cd8acd" providerId="ADAL" clId="{5DC7728A-B193-4E42-B707-5F97579A36D9}" dt="2023-06-27T09:35:51.819" v="64"/>
            <ac:picMkLst>
              <pc:docMk/>
              <pc:sldMasterMk cId="2791372136" sldId="2147483777"/>
              <pc:sldLayoutMk cId="3314331250" sldId="2147483937"/>
              <ac:picMk id="6" creationId="{572D95F7-9B10-7EDA-FDC0-CEA990E4EA51}"/>
            </ac:picMkLst>
          </pc:picChg>
          <pc:picChg chg="mod">
            <ac:chgData name="Hans Gelissen (DHL SSC Maastricht)" userId="1afa8510-4eed-4b73-a29e-678838cd8acd" providerId="ADAL" clId="{5DC7728A-B193-4E42-B707-5F97579A36D9}" dt="2023-06-27T09:35:51.819" v="64"/>
            <ac:picMkLst>
              <pc:docMk/>
              <pc:sldMasterMk cId="2791372136" sldId="2147483777"/>
              <pc:sldLayoutMk cId="3314331250" sldId="2147483937"/>
              <ac:picMk id="7" creationId="{6C5BA402-9DCA-F631-3606-27C1B80E3FCD}"/>
            </ac:picMkLst>
          </pc:picChg>
        </pc:sldLayoutChg>
        <pc:sldLayoutChg chg="addSp delSp modSp mod">
          <pc:chgData name="Hans Gelissen (DHL SSC Maastricht)" userId="1afa8510-4eed-4b73-a29e-678838cd8acd" providerId="ADAL" clId="{5DC7728A-B193-4E42-B707-5F97579A36D9}" dt="2023-06-27T09:35:51.034" v="63"/>
          <pc:sldLayoutMkLst>
            <pc:docMk/>
            <pc:sldMasterMk cId="2791372136" sldId="2147483777"/>
            <pc:sldLayoutMk cId="2580627656" sldId="2147483938"/>
          </pc:sldLayoutMkLst>
          <pc:spChg chg="mod">
            <ac:chgData name="Hans Gelissen (DHL SSC Maastricht)" userId="1afa8510-4eed-4b73-a29e-678838cd8acd" providerId="ADAL" clId="{5DC7728A-B193-4E42-B707-5F97579A36D9}" dt="2023-06-27T09:35:51.034" v="63"/>
            <ac:spMkLst>
              <pc:docMk/>
              <pc:sldMasterMk cId="2791372136" sldId="2147483777"/>
              <pc:sldLayoutMk cId="2580627656" sldId="2147483938"/>
              <ac:spMk id="4" creationId="{A744D09A-5187-56BE-7D72-9F6BE0F9FAED}"/>
            </ac:spMkLst>
          </pc:spChg>
          <pc:grpChg chg="add mod">
            <ac:chgData name="Hans Gelissen (DHL SSC Maastricht)" userId="1afa8510-4eed-4b73-a29e-678838cd8acd" providerId="ADAL" clId="{5DC7728A-B193-4E42-B707-5F97579A36D9}" dt="2023-06-27T09:35:51.034" v="63"/>
            <ac:grpSpMkLst>
              <pc:docMk/>
              <pc:sldMasterMk cId="2791372136" sldId="2147483777"/>
              <pc:sldLayoutMk cId="2580627656" sldId="2147483938"/>
              <ac:grpSpMk id="2" creationId="{5395E863-A3EF-D95B-7F65-48640690A29A}"/>
            </ac:grpSpMkLst>
          </pc:grpChg>
          <pc:grpChg chg="del">
            <ac:chgData name="Hans Gelissen (DHL SSC Maastricht)" userId="1afa8510-4eed-4b73-a29e-678838cd8acd" providerId="ADAL" clId="{5DC7728A-B193-4E42-B707-5F97579A36D9}" dt="2023-06-27T09:35:33.971" v="50" actId="478"/>
            <ac:grpSpMkLst>
              <pc:docMk/>
              <pc:sldMasterMk cId="2791372136" sldId="2147483777"/>
              <pc:sldLayoutMk cId="2580627656" sldId="2147483938"/>
              <ac:grpSpMk id="65" creationId="{1BDED68A-58CE-477A-8081-6078BF2E6B86}"/>
            </ac:grpSpMkLst>
          </pc:grpChg>
          <pc:picChg chg="mod">
            <ac:chgData name="Hans Gelissen (DHL SSC Maastricht)" userId="1afa8510-4eed-4b73-a29e-678838cd8acd" providerId="ADAL" clId="{5DC7728A-B193-4E42-B707-5F97579A36D9}" dt="2023-06-27T09:35:51.034" v="63"/>
            <ac:picMkLst>
              <pc:docMk/>
              <pc:sldMasterMk cId="2791372136" sldId="2147483777"/>
              <pc:sldLayoutMk cId="2580627656" sldId="2147483938"/>
              <ac:picMk id="5" creationId="{A22F0CA6-E966-6985-747C-5D86F04A2EA0}"/>
            </ac:picMkLst>
          </pc:picChg>
          <pc:picChg chg="mod">
            <ac:chgData name="Hans Gelissen (DHL SSC Maastricht)" userId="1afa8510-4eed-4b73-a29e-678838cd8acd" providerId="ADAL" clId="{5DC7728A-B193-4E42-B707-5F97579A36D9}" dt="2023-06-27T09:35:51.034" v="63"/>
            <ac:picMkLst>
              <pc:docMk/>
              <pc:sldMasterMk cId="2791372136" sldId="2147483777"/>
              <pc:sldLayoutMk cId="2580627656" sldId="2147483938"/>
              <ac:picMk id="6" creationId="{2FE152F9-2252-8A3A-18FB-6ADFBC10B0D1}"/>
            </ac:picMkLst>
          </pc:picChg>
          <pc:picChg chg="mod">
            <ac:chgData name="Hans Gelissen (DHL SSC Maastricht)" userId="1afa8510-4eed-4b73-a29e-678838cd8acd" providerId="ADAL" clId="{5DC7728A-B193-4E42-B707-5F97579A36D9}" dt="2023-06-27T09:35:51.034" v="63"/>
            <ac:picMkLst>
              <pc:docMk/>
              <pc:sldMasterMk cId="2791372136" sldId="2147483777"/>
              <pc:sldLayoutMk cId="2580627656" sldId="2147483938"/>
              <ac:picMk id="7" creationId="{6C848D06-76A6-E078-107B-2FAD2DA8C563}"/>
            </ac:picMkLst>
          </pc:picChg>
        </pc:sldLayoutChg>
        <pc:sldLayoutChg chg="addSp delSp modSp mod">
          <pc:chgData name="Hans Gelissen (DHL SSC Maastricht)" userId="1afa8510-4eed-4b73-a29e-678838cd8acd" providerId="ADAL" clId="{5DC7728A-B193-4E42-B707-5F97579A36D9}" dt="2023-06-27T09:35:50.248" v="62"/>
          <pc:sldLayoutMkLst>
            <pc:docMk/>
            <pc:sldMasterMk cId="2791372136" sldId="2147483777"/>
            <pc:sldLayoutMk cId="3319069032" sldId="2147483939"/>
          </pc:sldLayoutMkLst>
          <pc:spChg chg="mod">
            <ac:chgData name="Hans Gelissen (DHL SSC Maastricht)" userId="1afa8510-4eed-4b73-a29e-678838cd8acd" providerId="ADAL" clId="{5DC7728A-B193-4E42-B707-5F97579A36D9}" dt="2023-06-27T09:35:50.248" v="62"/>
            <ac:spMkLst>
              <pc:docMk/>
              <pc:sldMasterMk cId="2791372136" sldId="2147483777"/>
              <pc:sldLayoutMk cId="3319069032" sldId="2147483939"/>
              <ac:spMk id="4" creationId="{8942E540-32B0-CE6B-C5AE-CF9C131B5556}"/>
            </ac:spMkLst>
          </pc:spChg>
          <pc:grpChg chg="add mod">
            <ac:chgData name="Hans Gelissen (DHL SSC Maastricht)" userId="1afa8510-4eed-4b73-a29e-678838cd8acd" providerId="ADAL" clId="{5DC7728A-B193-4E42-B707-5F97579A36D9}" dt="2023-06-27T09:35:50.248" v="62"/>
            <ac:grpSpMkLst>
              <pc:docMk/>
              <pc:sldMasterMk cId="2791372136" sldId="2147483777"/>
              <pc:sldLayoutMk cId="3319069032" sldId="2147483939"/>
              <ac:grpSpMk id="2" creationId="{501CD296-9DE8-0DD0-ED29-DD2FC801FC13}"/>
            </ac:grpSpMkLst>
          </pc:grpChg>
          <pc:grpChg chg="del">
            <ac:chgData name="Hans Gelissen (DHL SSC Maastricht)" userId="1afa8510-4eed-4b73-a29e-678838cd8acd" providerId="ADAL" clId="{5DC7728A-B193-4E42-B707-5F97579A36D9}" dt="2023-06-27T09:35:35.153" v="51" actId="478"/>
            <ac:grpSpMkLst>
              <pc:docMk/>
              <pc:sldMasterMk cId="2791372136" sldId="2147483777"/>
              <pc:sldLayoutMk cId="3319069032" sldId="2147483939"/>
              <ac:grpSpMk id="65" creationId="{1BDED68A-58CE-477A-8081-6078BF2E6B86}"/>
            </ac:grpSpMkLst>
          </pc:grpChg>
          <pc:picChg chg="mod">
            <ac:chgData name="Hans Gelissen (DHL SSC Maastricht)" userId="1afa8510-4eed-4b73-a29e-678838cd8acd" providerId="ADAL" clId="{5DC7728A-B193-4E42-B707-5F97579A36D9}" dt="2023-06-27T09:35:50.248" v="62"/>
            <ac:picMkLst>
              <pc:docMk/>
              <pc:sldMasterMk cId="2791372136" sldId="2147483777"/>
              <pc:sldLayoutMk cId="3319069032" sldId="2147483939"/>
              <ac:picMk id="5" creationId="{E02450F8-DB8B-D76C-390E-9002ACB3DFBE}"/>
            </ac:picMkLst>
          </pc:picChg>
          <pc:picChg chg="mod">
            <ac:chgData name="Hans Gelissen (DHL SSC Maastricht)" userId="1afa8510-4eed-4b73-a29e-678838cd8acd" providerId="ADAL" clId="{5DC7728A-B193-4E42-B707-5F97579A36D9}" dt="2023-06-27T09:35:50.248" v="62"/>
            <ac:picMkLst>
              <pc:docMk/>
              <pc:sldMasterMk cId="2791372136" sldId="2147483777"/>
              <pc:sldLayoutMk cId="3319069032" sldId="2147483939"/>
              <ac:picMk id="6" creationId="{4DABFD9C-B5FD-85C0-A1D2-A5E629515AC6}"/>
            </ac:picMkLst>
          </pc:picChg>
          <pc:picChg chg="mod">
            <ac:chgData name="Hans Gelissen (DHL SSC Maastricht)" userId="1afa8510-4eed-4b73-a29e-678838cd8acd" providerId="ADAL" clId="{5DC7728A-B193-4E42-B707-5F97579A36D9}" dt="2023-06-27T09:35:50.248" v="62"/>
            <ac:picMkLst>
              <pc:docMk/>
              <pc:sldMasterMk cId="2791372136" sldId="2147483777"/>
              <pc:sldLayoutMk cId="3319069032" sldId="2147483939"/>
              <ac:picMk id="7" creationId="{3EE9D180-B8AA-7965-70DA-C045045DCB31}"/>
            </ac:picMkLst>
          </pc:picChg>
        </pc:sldLayoutChg>
        <pc:sldLayoutChg chg="addSp delSp modSp mod">
          <pc:chgData name="Hans Gelissen (DHL SSC Maastricht)" userId="1afa8510-4eed-4b73-a29e-678838cd8acd" providerId="ADAL" clId="{5DC7728A-B193-4E42-B707-5F97579A36D9}" dt="2023-06-27T09:35:48.598" v="61"/>
          <pc:sldLayoutMkLst>
            <pc:docMk/>
            <pc:sldMasterMk cId="2791372136" sldId="2147483777"/>
            <pc:sldLayoutMk cId="3530943272" sldId="2147483940"/>
          </pc:sldLayoutMkLst>
          <pc:spChg chg="mod">
            <ac:chgData name="Hans Gelissen (DHL SSC Maastricht)" userId="1afa8510-4eed-4b73-a29e-678838cd8acd" providerId="ADAL" clId="{5DC7728A-B193-4E42-B707-5F97579A36D9}" dt="2023-06-27T09:35:48.598" v="61"/>
            <ac:spMkLst>
              <pc:docMk/>
              <pc:sldMasterMk cId="2791372136" sldId="2147483777"/>
              <pc:sldLayoutMk cId="3530943272" sldId="2147483940"/>
              <ac:spMk id="4" creationId="{219B7B0B-735A-D3CA-3F53-27D2296D027A}"/>
            </ac:spMkLst>
          </pc:spChg>
          <pc:grpChg chg="add mod">
            <ac:chgData name="Hans Gelissen (DHL SSC Maastricht)" userId="1afa8510-4eed-4b73-a29e-678838cd8acd" providerId="ADAL" clId="{5DC7728A-B193-4E42-B707-5F97579A36D9}" dt="2023-06-27T09:35:48.598" v="61"/>
            <ac:grpSpMkLst>
              <pc:docMk/>
              <pc:sldMasterMk cId="2791372136" sldId="2147483777"/>
              <pc:sldLayoutMk cId="3530943272" sldId="2147483940"/>
              <ac:grpSpMk id="2" creationId="{93839574-F60F-6259-D762-368AD241B087}"/>
            </ac:grpSpMkLst>
          </pc:grpChg>
          <pc:grpChg chg="del">
            <ac:chgData name="Hans Gelissen (DHL SSC Maastricht)" userId="1afa8510-4eed-4b73-a29e-678838cd8acd" providerId="ADAL" clId="{5DC7728A-B193-4E42-B707-5F97579A36D9}" dt="2023-06-27T09:35:36.438" v="52" actId="478"/>
            <ac:grpSpMkLst>
              <pc:docMk/>
              <pc:sldMasterMk cId="2791372136" sldId="2147483777"/>
              <pc:sldLayoutMk cId="3530943272" sldId="2147483940"/>
              <ac:grpSpMk id="65" creationId="{1BDED68A-58CE-477A-8081-6078BF2E6B86}"/>
            </ac:grpSpMkLst>
          </pc:grpChg>
          <pc:picChg chg="mod">
            <ac:chgData name="Hans Gelissen (DHL SSC Maastricht)" userId="1afa8510-4eed-4b73-a29e-678838cd8acd" providerId="ADAL" clId="{5DC7728A-B193-4E42-B707-5F97579A36D9}" dt="2023-06-27T09:35:48.598" v="61"/>
            <ac:picMkLst>
              <pc:docMk/>
              <pc:sldMasterMk cId="2791372136" sldId="2147483777"/>
              <pc:sldLayoutMk cId="3530943272" sldId="2147483940"/>
              <ac:picMk id="5" creationId="{9AD8455D-697D-7D0C-67A1-6E1FC6D3E337}"/>
            </ac:picMkLst>
          </pc:picChg>
          <pc:picChg chg="mod">
            <ac:chgData name="Hans Gelissen (DHL SSC Maastricht)" userId="1afa8510-4eed-4b73-a29e-678838cd8acd" providerId="ADAL" clId="{5DC7728A-B193-4E42-B707-5F97579A36D9}" dt="2023-06-27T09:35:48.598" v="61"/>
            <ac:picMkLst>
              <pc:docMk/>
              <pc:sldMasterMk cId="2791372136" sldId="2147483777"/>
              <pc:sldLayoutMk cId="3530943272" sldId="2147483940"/>
              <ac:picMk id="6" creationId="{457529CD-2909-A294-461E-F65FCE48DAF7}"/>
            </ac:picMkLst>
          </pc:picChg>
          <pc:picChg chg="mod">
            <ac:chgData name="Hans Gelissen (DHL SSC Maastricht)" userId="1afa8510-4eed-4b73-a29e-678838cd8acd" providerId="ADAL" clId="{5DC7728A-B193-4E42-B707-5F97579A36D9}" dt="2023-06-27T09:35:48.598" v="61"/>
            <ac:picMkLst>
              <pc:docMk/>
              <pc:sldMasterMk cId="2791372136" sldId="2147483777"/>
              <pc:sldLayoutMk cId="3530943272" sldId="2147483940"/>
              <ac:picMk id="7" creationId="{4FDD2208-E8E6-6004-6709-DA174B630FDE}"/>
            </ac:picMkLst>
          </pc:picChg>
        </pc:sldLayoutChg>
        <pc:sldLayoutChg chg="addSp delSp modSp mod">
          <pc:chgData name="Hans Gelissen (DHL SSC Maastricht)" userId="1afa8510-4eed-4b73-a29e-678838cd8acd" providerId="ADAL" clId="{5DC7728A-B193-4E42-B707-5F97579A36D9}" dt="2023-06-27T09:35:47.823" v="60"/>
          <pc:sldLayoutMkLst>
            <pc:docMk/>
            <pc:sldMasterMk cId="2791372136" sldId="2147483777"/>
            <pc:sldLayoutMk cId="1109663919" sldId="2147483941"/>
          </pc:sldLayoutMkLst>
          <pc:spChg chg="mod">
            <ac:chgData name="Hans Gelissen (DHL SSC Maastricht)" userId="1afa8510-4eed-4b73-a29e-678838cd8acd" providerId="ADAL" clId="{5DC7728A-B193-4E42-B707-5F97579A36D9}" dt="2023-06-27T09:35:47.823" v="60"/>
            <ac:spMkLst>
              <pc:docMk/>
              <pc:sldMasterMk cId="2791372136" sldId="2147483777"/>
              <pc:sldLayoutMk cId="1109663919" sldId="2147483941"/>
              <ac:spMk id="4" creationId="{1CAC10F9-04C3-4CA0-A26B-304BFA589A30}"/>
            </ac:spMkLst>
          </pc:spChg>
          <pc:grpChg chg="add mod">
            <ac:chgData name="Hans Gelissen (DHL SSC Maastricht)" userId="1afa8510-4eed-4b73-a29e-678838cd8acd" providerId="ADAL" clId="{5DC7728A-B193-4E42-B707-5F97579A36D9}" dt="2023-06-27T09:35:47.823" v="60"/>
            <ac:grpSpMkLst>
              <pc:docMk/>
              <pc:sldMasterMk cId="2791372136" sldId="2147483777"/>
              <pc:sldLayoutMk cId="1109663919" sldId="2147483941"/>
              <ac:grpSpMk id="2" creationId="{FD7D5F24-C35B-6373-41CD-53AB794BBB55}"/>
            </ac:grpSpMkLst>
          </pc:grpChg>
          <pc:grpChg chg="del">
            <ac:chgData name="Hans Gelissen (DHL SSC Maastricht)" userId="1afa8510-4eed-4b73-a29e-678838cd8acd" providerId="ADAL" clId="{5DC7728A-B193-4E42-B707-5F97579A36D9}" dt="2023-06-27T09:35:37.985" v="53" actId="478"/>
            <ac:grpSpMkLst>
              <pc:docMk/>
              <pc:sldMasterMk cId="2791372136" sldId="2147483777"/>
              <pc:sldLayoutMk cId="1109663919" sldId="2147483941"/>
              <ac:grpSpMk id="65" creationId="{1BDED68A-58CE-477A-8081-6078BF2E6B86}"/>
            </ac:grpSpMkLst>
          </pc:grpChg>
          <pc:picChg chg="mod">
            <ac:chgData name="Hans Gelissen (DHL SSC Maastricht)" userId="1afa8510-4eed-4b73-a29e-678838cd8acd" providerId="ADAL" clId="{5DC7728A-B193-4E42-B707-5F97579A36D9}" dt="2023-06-27T09:35:47.823" v="60"/>
            <ac:picMkLst>
              <pc:docMk/>
              <pc:sldMasterMk cId="2791372136" sldId="2147483777"/>
              <pc:sldLayoutMk cId="1109663919" sldId="2147483941"/>
              <ac:picMk id="5" creationId="{3FD94297-1C7D-09C9-2815-9B5427A1A91B}"/>
            </ac:picMkLst>
          </pc:picChg>
          <pc:picChg chg="mod">
            <ac:chgData name="Hans Gelissen (DHL SSC Maastricht)" userId="1afa8510-4eed-4b73-a29e-678838cd8acd" providerId="ADAL" clId="{5DC7728A-B193-4E42-B707-5F97579A36D9}" dt="2023-06-27T09:35:47.823" v="60"/>
            <ac:picMkLst>
              <pc:docMk/>
              <pc:sldMasterMk cId="2791372136" sldId="2147483777"/>
              <pc:sldLayoutMk cId="1109663919" sldId="2147483941"/>
              <ac:picMk id="6" creationId="{0F103A5C-8AC2-0458-2240-6F1261DDC158}"/>
            </ac:picMkLst>
          </pc:picChg>
          <pc:picChg chg="mod">
            <ac:chgData name="Hans Gelissen (DHL SSC Maastricht)" userId="1afa8510-4eed-4b73-a29e-678838cd8acd" providerId="ADAL" clId="{5DC7728A-B193-4E42-B707-5F97579A36D9}" dt="2023-06-27T09:35:47.823" v="60"/>
            <ac:picMkLst>
              <pc:docMk/>
              <pc:sldMasterMk cId="2791372136" sldId="2147483777"/>
              <pc:sldLayoutMk cId="1109663919" sldId="2147483941"/>
              <ac:picMk id="7" creationId="{C280925C-665E-8081-B3E8-BF6D9091CEBD}"/>
            </ac:picMkLst>
          </pc:picChg>
        </pc:sldLayoutChg>
        <pc:sldLayoutChg chg="addSp delSp modSp mod">
          <pc:chgData name="Hans Gelissen (DHL SSC Maastricht)" userId="1afa8510-4eed-4b73-a29e-678838cd8acd" providerId="ADAL" clId="{5DC7728A-B193-4E42-B707-5F97579A36D9}" dt="2023-06-27T09:35:47.081" v="59"/>
          <pc:sldLayoutMkLst>
            <pc:docMk/>
            <pc:sldMasterMk cId="2791372136" sldId="2147483777"/>
            <pc:sldLayoutMk cId="2984325781" sldId="2147483977"/>
          </pc:sldLayoutMkLst>
          <pc:spChg chg="mod">
            <ac:chgData name="Hans Gelissen (DHL SSC Maastricht)" userId="1afa8510-4eed-4b73-a29e-678838cd8acd" providerId="ADAL" clId="{5DC7728A-B193-4E42-B707-5F97579A36D9}" dt="2023-06-27T09:35:47.081" v="59"/>
            <ac:spMkLst>
              <pc:docMk/>
              <pc:sldMasterMk cId="2791372136" sldId="2147483777"/>
              <pc:sldLayoutMk cId="2984325781" sldId="2147483977"/>
              <ac:spMk id="4" creationId="{DB284B44-83A5-DD7D-614B-2A35A58B743B}"/>
            </ac:spMkLst>
          </pc:spChg>
          <pc:grpChg chg="add mod">
            <ac:chgData name="Hans Gelissen (DHL SSC Maastricht)" userId="1afa8510-4eed-4b73-a29e-678838cd8acd" providerId="ADAL" clId="{5DC7728A-B193-4E42-B707-5F97579A36D9}" dt="2023-06-27T09:35:47.081" v="59"/>
            <ac:grpSpMkLst>
              <pc:docMk/>
              <pc:sldMasterMk cId="2791372136" sldId="2147483777"/>
              <pc:sldLayoutMk cId="2984325781" sldId="2147483977"/>
              <ac:grpSpMk id="2" creationId="{20ED1F78-DE7E-C48A-7E7A-3578C7F547C6}"/>
            </ac:grpSpMkLst>
          </pc:grpChg>
          <pc:grpChg chg="del">
            <ac:chgData name="Hans Gelissen (DHL SSC Maastricht)" userId="1afa8510-4eed-4b73-a29e-678838cd8acd" providerId="ADAL" clId="{5DC7728A-B193-4E42-B707-5F97579A36D9}" dt="2023-06-27T09:35:39.791" v="54" actId="478"/>
            <ac:grpSpMkLst>
              <pc:docMk/>
              <pc:sldMasterMk cId="2791372136" sldId="2147483777"/>
              <pc:sldLayoutMk cId="2984325781" sldId="2147483977"/>
              <ac:grpSpMk id="65" creationId="{1BDED68A-58CE-477A-8081-6078BF2E6B86}"/>
            </ac:grpSpMkLst>
          </pc:grpChg>
          <pc:picChg chg="mod">
            <ac:chgData name="Hans Gelissen (DHL SSC Maastricht)" userId="1afa8510-4eed-4b73-a29e-678838cd8acd" providerId="ADAL" clId="{5DC7728A-B193-4E42-B707-5F97579A36D9}" dt="2023-06-27T09:35:47.081" v="59"/>
            <ac:picMkLst>
              <pc:docMk/>
              <pc:sldMasterMk cId="2791372136" sldId="2147483777"/>
              <pc:sldLayoutMk cId="2984325781" sldId="2147483977"/>
              <ac:picMk id="5" creationId="{3447E75B-10DA-8580-0CC2-91FD004B0CAE}"/>
            </ac:picMkLst>
          </pc:picChg>
          <pc:picChg chg="mod">
            <ac:chgData name="Hans Gelissen (DHL SSC Maastricht)" userId="1afa8510-4eed-4b73-a29e-678838cd8acd" providerId="ADAL" clId="{5DC7728A-B193-4E42-B707-5F97579A36D9}" dt="2023-06-27T09:35:47.081" v="59"/>
            <ac:picMkLst>
              <pc:docMk/>
              <pc:sldMasterMk cId="2791372136" sldId="2147483777"/>
              <pc:sldLayoutMk cId="2984325781" sldId="2147483977"/>
              <ac:picMk id="6" creationId="{9DB78F60-E22C-F4F2-E1A5-07AC9F65BEF0}"/>
            </ac:picMkLst>
          </pc:picChg>
          <pc:picChg chg="mod">
            <ac:chgData name="Hans Gelissen (DHL SSC Maastricht)" userId="1afa8510-4eed-4b73-a29e-678838cd8acd" providerId="ADAL" clId="{5DC7728A-B193-4E42-B707-5F97579A36D9}" dt="2023-06-27T09:35:47.081" v="59"/>
            <ac:picMkLst>
              <pc:docMk/>
              <pc:sldMasterMk cId="2791372136" sldId="2147483777"/>
              <pc:sldLayoutMk cId="2984325781" sldId="2147483977"/>
              <ac:picMk id="7" creationId="{6C4CDA07-6A6A-9D2C-162F-793799FF0FAF}"/>
            </ac:picMkLst>
          </pc:picChg>
        </pc:sldLayoutChg>
        <pc:sldLayoutChg chg="addSp delSp modSp mod">
          <pc:chgData name="Hans Gelissen (DHL SSC Maastricht)" userId="1afa8510-4eed-4b73-a29e-678838cd8acd" providerId="ADAL" clId="{5DC7728A-B193-4E42-B707-5F97579A36D9}" dt="2023-06-27T09:35:46.235" v="58"/>
          <pc:sldLayoutMkLst>
            <pc:docMk/>
            <pc:sldMasterMk cId="2791372136" sldId="2147483777"/>
            <pc:sldLayoutMk cId="1810193577" sldId="2147483978"/>
          </pc:sldLayoutMkLst>
          <pc:spChg chg="mod">
            <ac:chgData name="Hans Gelissen (DHL SSC Maastricht)" userId="1afa8510-4eed-4b73-a29e-678838cd8acd" providerId="ADAL" clId="{5DC7728A-B193-4E42-B707-5F97579A36D9}" dt="2023-06-27T09:35:46.235" v="58"/>
            <ac:spMkLst>
              <pc:docMk/>
              <pc:sldMasterMk cId="2791372136" sldId="2147483777"/>
              <pc:sldLayoutMk cId="1810193577" sldId="2147483978"/>
              <ac:spMk id="4" creationId="{9D936BC4-949D-89E2-5DA6-CEF87DA8B027}"/>
            </ac:spMkLst>
          </pc:spChg>
          <pc:grpChg chg="add mod">
            <ac:chgData name="Hans Gelissen (DHL SSC Maastricht)" userId="1afa8510-4eed-4b73-a29e-678838cd8acd" providerId="ADAL" clId="{5DC7728A-B193-4E42-B707-5F97579A36D9}" dt="2023-06-27T09:35:46.235" v="58"/>
            <ac:grpSpMkLst>
              <pc:docMk/>
              <pc:sldMasterMk cId="2791372136" sldId="2147483777"/>
              <pc:sldLayoutMk cId="1810193577" sldId="2147483978"/>
              <ac:grpSpMk id="2" creationId="{0DC6DDF5-3750-C6D9-75BA-AD5A343ACEF7}"/>
            </ac:grpSpMkLst>
          </pc:grpChg>
          <pc:grpChg chg="del">
            <ac:chgData name="Hans Gelissen (DHL SSC Maastricht)" userId="1afa8510-4eed-4b73-a29e-678838cd8acd" providerId="ADAL" clId="{5DC7728A-B193-4E42-B707-5F97579A36D9}" dt="2023-06-27T09:35:40.904" v="55" actId="478"/>
            <ac:grpSpMkLst>
              <pc:docMk/>
              <pc:sldMasterMk cId="2791372136" sldId="2147483777"/>
              <pc:sldLayoutMk cId="1810193577" sldId="2147483978"/>
              <ac:grpSpMk id="65" creationId="{1BDED68A-58CE-477A-8081-6078BF2E6B86}"/>
            </ac:grpSpMkLst>
          </pc:grpChg>
          <pc:picChg chg="mod">
            <ac:chgData name="Hans Gelissen (DHL SSC Maastricht)" userId="1afa8510-4eed-4b73-a29e-678838cd8acd" providerId="ADAL" clId="{5DC7728A-B193-4E42-B707-5F97579A36D9}" dt="2023-06-27T09:35:46.235" v="58"/>
            <ac:picMkLst>
              <pc:docMk/>
              <pc:sldMasterMk cId="2791372136" sldId="2147483777"/>
              <pc:sldLayoutMk cId="1810193577" sldId="2147483978"/>
              <ac:picMk id="5" creationId="{529C19F3-7DC2-6BA2-3F36-E0F12ED95DFA}"/>
            </ac:picMkLst>
          </pc:picChg>
          <pc:picChg chg="mod">
            <ac:chgData name="Hans Gelissen (DHL SSC Maastricht)" userId="1afa8510-4eed-4b73-a29e-678838cd8acd" providerId="ADAL" clId="{5DC7728A-B193-4E42-B707-5F97579A36D9}" dt="2023-06-27T09:35:46.235" v="58"/>
            <ac:picMkLst>
              <pc:docMk/>
              <pc:sldMasterMk cId="2791372136" sldId="2147483777"/>
              <pc:sldLayoutMk cId="1810193577" sldId="2147483978"/>
              <ac:picMk id="6" creationId="{D8D3CD3E-C346-A25D-D6E7-3CEF80CB68F0}"/>
            </ac:picMkLst>
          </pc:picChg>
          <pc:picChg chg="mod">
            <ac:chgData name="Hans Gelissen (DHL SSC Maastricht)" userId="1afa8510-4eed-4b73-a29e-678838cd8acd" providerId="ADAL" clId="{5DC7728A-B193-4E42-B707-5F97579A36D9}" dt="2023-06-27T09:35:46.235" v="58"/>
            <ac:picMkLst>
              <pc:docMk/>
              <pc:sldMasterMk cId="2791372136" sldId="2147483777"/>
              <pc:sldLayoutMk cId="1810193577" sldId="2147483978"/>
              <ac:picMk id="7" creationId="{40BF4F1F-1A2A-9E4B-20CA-E2E5181E83F1}"/>
            </ac:picMkLst>
          </pc:picChg>
        </pc:sldLayoutChg>
        <pc:sldLayoutChg chg="addSp delSp modSp mod">
          <pc:chgData name="Hans Gelissen (DHL SSC Maastricht)" userId="1afa8510-4eed-4b73-a29e-678838cd8acd" providerId="ADAL" clId="{5DC7728A-B193-4E42-B707-5F97579A36D9}" dt="2023-06-27T09:35:45.246" v="57"/>
          <pc:sldLayoutMkLst>
            <pc:docMk/>
            <pc:sldMasterMk cId="2791372136" sldId="2147483777"/>
            <pc:sldLayoutMk cId="3829185410" sldId="2147483979"/>
          </pc:sldLayoutMkLst>
          <pc:spChg chg="mod">
            <ac:chgData name="Hans Gelissen (DHL SSC Maastricht)" userId="1afa8510-4eed-4b73-a29e-678838cd8acd" providerId="ADAL" clId="{5DC7728A-B193-4E42-B707-5F97579A36D9}" dt="2023-06-27T09:35:45.246" v="57"/>
            <ac:spMkLst>
              <pc:docMk/>
              <pc:sldMasterMk cId="2791372136" sldId="2147483777"/>
              <pc:sldLayoutMk cId="3829185410" sldId="2147483979"/>
              <ac:spMk id="4" creationId="{D735C7B8-DF3E-25CC-F453-C66C0469DA3E}"/>
            </ac:spMkLst>
          </pc:spChg>
          <pc:grpChg chg="add mod">
            <ac:chgData name="Hans Gelissen (DHL SSC Maastricht)" userId="1afa8510-4eed-4b73-a29e-678838cd8acd" providerId="ADAL" clId="{5DC7728A-B193-4E42-B707-5F97579A36D9}" dt="2023-06-27T09:35:45.246" v="57"/>
            <ac:grpSpMkLst>
              <pc:docMk/>
              <pc:sldMasterMk cId="2791372136" sldId="2147483777"/>
              <pc:sldLayoutMk cId="3829185410" sldId="2147483979"/>
              <ac:grpSpMk id="2" creationId="{429E8796-FC95-6BC3-1E19-93ACEA4DA383}"/>
            </ac:grpSpMkLst>
          </pc:grpChg>
          <pc:grpChg chg="del">
            <ac:chgData name="Hans Gelissen (DHL SSC Maastricht)" userId="1afa8510-4eed-4b73-a29e-678838cd8acd" providerId="ADAL" clId="{5DC7728A-B193-4E42-B707-5F97579A36D9}" dt="2023-06-27T09:35:41.900" v="56" actId="478"/>
            <ac:grpSpMkLst>
              <pc:docMk/>
              <pc:sldMasterMk cId="2791372136" sldId="2147483777"/>
              <pc:sldLayoutMk cId="3829185410" sldId="2147483979"/>
              <ac:grpSpMk id="65" creationId="{1BDED68A-58CE-477A-8081-6078BF2E6B86}"/>
            </ac:grpSpMkLst>
          </pc:grpChg>
          <pc:picChg chg="mod">
            <ac:chgData name="Hans Gelissen (DHL SSC Maastricht)" userId="1afa8510-4eed-4b73-a29e-678838cd8acd" providerId="ADAL" clId="{5DC7728A-B193-4E42-B707-5F97579A36D9}" dt="2023-06-27T09:35:45.246" v="57"/>
            <ac:picMkLst>
              <pc:docMk/>
              <pc:sldMasterMk cId="2791372136" sldId="2147483777"/>
              <pc:sldLayoutMk cId="3829185410" sldId="2147483979"/>
              <ac:picMk id="5" creationId="{BEEB1334-17B8-E102-1B83-CD31D91FAB59}"/>
            </ac:picMkLst>
          </pc:picChg>
          <pc:picChg chg="mod">
            <ac:chgData name="Hans Gelissen (DHL SSC Maastricht)" userId="1afa8510-4eed-4b73-a29e-678838cd8acd" providerId="ADAL" clId="{5DC7728A-B193-4E42-B707-5F97579A36D9}" dt="2023-06-27T09:35:45.246" v="57"/>
            <ac:picMkLst>
              <pc:docMk/>
              <pc:sldMasterMk cId="2791372136" sldId="2147483777"/>
              <pc:sldLayoutMk cId="3829185410" sldId="2147483979"/>
              <ac:picMk id="6" creationId="{4060789B-6A0A-C61C-85C7-6519B8F49536}"/>
            </ac:picMkLst>
          </pc:picChg>
          <pc:picChg chg="mod">
            <ac:chgData name="Hans Gelissen (DHL SSC Maastricht)" userId="1afa8510-4eed-4b73-a29e-678838cd8acd" providerId="ADAL" clId="{5DC7728A-B193-4E42-B707-5F97579A36D9}" dt="2023-06-27T09:35:45.246" v="57"/>
            <ac:picMkLst>
              <pc:docMk/>
              <pc:sldMasterMk cId="2791372136" sldId="2147483777"/>
              <pc:sldLayoutMk cId="3829185410" sldId="2147483979"/>
              <ac:picMk id="7" creationId="{AE2FFD02-160C-D7B1-B19D-AD7082A9B475}"/>
            </ac:picMkLst>
          </pc:picChg>
        </pc:sldLayoutChg>
      </pc:sldMasterChg>
    </pc:docChg>
  </pc:docChgLst>
  <pc:docChgLst>
    <pc:chgData name="Bente De Rijke (DHL SSC Maastricht)" userId="475646eb-b23c-43c0-b2ae-71e1fde9b74e" providerId="ADAL" clId="{F28DB440-ADF2-4205-9C03-032A231D6973}"/>
    <pc:docChg chg="custSel addSld delSld modSld">
      <pc:chgData name="Bente De Rijke (DHL SSC Maastricht)" userId="475646eb-b23c-43c0-b2ae-71e1fde9b74e" providerId="ADAL" clId="{F28DB440-ADF2-4205-9C03-032A231D6973}" dt="2023-07-14T16:55:48.336" v="106" actId="20577"/>
      <pc:docMkLst>
        <pc:docMk/>
      </pc:docMkLst>
      <pc:sldChg chg="modSp mod">
        <pc:chgData name="Bente De Rijke (DHL SSC Maastricht)" userId="475646eb-b23c-43c0-b2ae-71e1fde9b74e" providerId="ADAL" clId="{F28DB440-ADF2-4205-9C03-032A231D6973}" dt="2023-07-12T10:01:39.745" v="100" actId="6549"/>
        <pc:sldMkLst>
          <pc:docMk/>
          <pc:sldMk cId="2338473233" sldId="258"/>
        </pc:sldMkLst>
        <pc:spChg chg="mod">
          <ac:chgData name="Bente De Rijke (DHL SSC Maastricht)" userId="475646eb-b23c-43c0-b2ae-71e1fde9b74e" providerId="ADAL" clId="{F28DB440-ADF2-4205-9C03-032A231D6973}" dt="2023-07-12T10:01:39.745" v="100" actId="6549"/>
          <ac:spMkLst>
            <pc:docMk/>
            <pc:sldMk cId="2338473233" sldId="258"/>
            <ac:spMk id="13" creationId="{08A47195-4824-4907-8AE9-D7AD4BE08E28}"/>
          </ac:spMkLst>
        </pc:spChg>
      </pc:sldChg>
      <pc:sldChg chg="del">
        <pc:chgData name="Bente De Rijke (DHL SSC Maastricht)" userId="475646eb-b23c-43c0-b2ae-71e1fde9b74e" providerId="ADAL" clId="{F28DB440-ADF2-4205-9C03-032A231D6973}" dt="2023-05-24T12:57:22.768" v="1" actId="47"/>
        <pc:sldMkLst>
          <pc:docMk/>
          <pc:sldMk cId="1852155912" sldId="288"/>
        </pc:sldMkLst>
      </pc:sldChg>
      <pc:sldChg chg="modSp mod">
        <pc:chgData name="Bente De Rijke (DHL SSC Maastricht)" userId="475646eb-b23c-43c0-b2ae-71e1fde9b74e" providerId="ADAL" clId="{F28DB440-ADF2-4205-9C03-032A231D6973}" dt="2023-05-28T14:57:05.773" v="96"/>
        <pc:sldMkLst>
          <pc:docMk/>
          <pc:sldMk cId="929641217" sldId="328"/>
        </pc:sldMkLst>
        <pc:spChg chg="mod">
          <ac:chgData name="Bente De Rijke (DHL SSC Maastricht)" userId="475646eb-b23c-43c0-b2ae-71e1fde9b74e" providerId="ADAL" clId="{F28DB440-ADF2-4205-9C03-032A231D6973}" dt="2023-05-28T14:57:05.773" v="96"/>
          <ac:spMkLst>
            <pc:docMk/>
            <pc:sldMk cId="929641217" sldId="328"/>
            <ac:spMk id="2" creationId="{87113EF7-E0C1-C8F4-2CA0-AEE3DE5CF4B0}"/>
          </ac:spMkLst>
        </pc:spChg>
      </pc:sldChg>
      <pc:sldChg chg="modSp mod">
        <pc:chgData name="Bente De Rijke (DHL SSC Maastricht)" userId="475646eb-b23c-43c0-b2ae-71e1fde9b74e" providerId="ADAL" clId="{F28DB440-ADF2-4205-9C03-032A231D6973}" dt="2023-05-26T16:34:22.676" v="93" actId="1076"/>
        <pc:sldMkLst>
          <pc:docMk/>
          <pc:sldMk cId="744229540" sldId="416"/>
        </pc:sldMkLst>
        <pc:spChg chg="mod">
          <ac:chgData name="Bente De Rijke (DHL SSC Maastricht)" userId="475646eb-b23c-43c0-b2ae-71e1fde9b74e" providerId="ADAL" clId="{F28DB440-ADF2-4205-9C03-032A231D6973}" dt="2023-05-26T16:34:15.645" v="92" actId="6549"/>
          <ac:spMkLst>
            <pc:docMk/>
            <pc:sldMk cId="744229540" sldId="416"/>
            <ac:spMk id="10" creationId="{9F482F38-CB6C-FC92-3ACF-B6DDA541BB3D}"/>
          </ac:spMkLst>
        </pc:spChg>
        <pc:graphicFrameChg chg="mod">
          <ac:chgData name="Bente De Rijke (DHL SSC Maastricht)" userId="475646eb-b23c-43c0-b2ae-71e1fde9b74e" providerId="ADAL" clId="{F28DB440-ADF2-4205-9C03-032A231D6973}" dt="2023-05-26T16:34:22.676" v="93" actId="1076"/>
          <ac:graphicFrameMkLst>
            <pc:docMk/>
            <pc:sldMk cId="744229540" sldId="416"/>
            <ac:graphicFrameMk id="3" creationId="{AF116572-6F33-0D81-6F46-330B86383BF7}"/>
          </ac:graphicFrameMkLst>
        </pc:graphicFrameChg>
      </pc:sldChg>
      <pc:sldChg chg="modSp add mod">
        <pc:chgData name="Bente De Rijke (DHL SSC Maastricht)" userId="475646eb-b23c-43c0-b2ae-71e1fde9b74e" providerId="ADAL" clId="{F28DB440-ADF2-4205-9C03-032A231D6973}" dt="2023-07-14T16:55:48.336" v="106" actId="20577"/>
        <pc:sldMkLst>
          <pc:docMk/>
          <pc:sldMk cId="4140094625" sldId="427"/>
        </pc:sldMkLst>
        <pc:spChg chg="mod">
          <ac:chgData name="Bente De Rijke (DHL SSC Maastricht)" userId="475646eb-b23c-43c0-b2ae-71e1fde9b74e" providerId="ADAL" clId="{F28DB440-ADF2-4205-9C03-032A231D6973}" dt="2023-07-14T16:55:48.336" v="106" actId="20577"/>
          <ac:spMkLst>
            <pc:docMk/>
            <pc:sldMk cId="4140094625" sldId="427"/>
            <ac:spMk id="2" creationId="{5BF741B4-FB78-FD85-0AAE-5C470B4C2500}"/>
          </ac:spMkLst>
        </pc:spChg>
      </pc:sldChg>
      <pc:sldChg chg="delCm">
        <pc:chgData name="Bente De Rijke (DHL SSC Maastricht)" userId="475646eb-b23c-43c0-b2ae-71e1fde9b74e" providerId="ADAL" clId="{F28DB440-ADF2-4205-9C03-032A231D6973}" dt="2023-05-26T16:24:25.470" v="2"/>
        <pc:sldMkLst>
          <pc:docMk/>
          <pc:sldMk cId="3640229747" sldId="433"/>
        </pc:sldMkLst>
      </pc:sldChg>
      <pc:sldChg chg="addSp delSp modSp mod">
        <pc:chgData name="Bente De Rijke (DHL SSC Maastricht)" userId="475646eb-b23c-43c0-b2ae-71e1fde9b74e" providerId="ADAL" clId="{F28DB440-ADF2-4205-9C03-032A231D6973}" dt="2023-06-22T08:00:28.766" v="98" actId="478"/>
        <pc:sldMkLst>
          <pc:docMk/>
          <pc:sldMk cId="231696206" sldId="441"/>
        </pc:sldMkLst>
        <pc:spChg chg="add del mod">
          <ac:chgData name="Bente De Rijke (DHL SSC Maastricht)" userId="475646eb-b23c-43c0-b2ae-71e1fde9b74e" providerId="ADAL" clId="{F28DB440-ADF2-4205-9C03-032A231D6973}" dt="2023-06-22T08:00:28.766" v="98" actId="478"/>
          <ac:spMkLst>
            <pc:docMk/>
            <pc:sldMk cId="231696206" sldId="441"/>
            <ac:spMk id="3" creationId="{6CD9FE4C-FCAC-43D1-5244-E6C6E6242909}"/>
          </ac:spMkLst>
        </pc:spChg>
      </pc:sldChg>
      <pc:sldChg chg="modSp mod">
        <pc:chgData name="Bente De Rijke (DHL SSC Maastricht)" userId="475646eb-b23c-43c0-b2ae-71e1fde9b74e" providerId="ADAL" clId="{F28DB440-ADF2-4205-9C03-032A231D6973}" dt="2023-05-26T16:32:35.343" v="88" actId="20577"/>
        <pc:sldMkLst>
          <pc:docMk/>
          <pc:sldMk cId="2746475387" sldId="443"/>
        </pc:sldMkLst>
        <pc:spChg chg="mod">
          <ac:chgData name="Bente De Rijke (DHL SSC Maastricht)" userId="475646eb-b23c-43c0-b2ae-71e1fde9b74e" providerId="ADAL" clId="{F28DB440-ADF2-4205-9C03-032A231D6973}" dt="2023-05-26T16:32:35.343" v="88" actId="20577"/>
          <ac:spMkLst>
            <pc:docMk/>
            <pc:sldMk cId="2746475387" sldId="443"/>
            <ac:spMk id="10" creationId="{9F482F38-CB6C-FC92-3ACF-B6DDA541BB3D}"/>
          </ac:spMkLst>
        </pc:spChg>
        <pc:graphicFrameChg chg="modGraphic">
          <ac:chgData name="Bente De Rijke (DHL SSC Maastricht)" userId="475646eb-b23c-43c0-b2ae-71e1fde9b74e" providerId="ADAL" clId="{F28DB440-ADF2-4205-9C03-032A231D6973}" dt="2023-05-26T16:31:51.922" v="39" actId="20577"/>
          <ac:graphicFrameMkLst>
            <pc:docMk/>
            <pc:sldMk cId="2746475387" sldId="443"/>
            <ac:graphicFrameMk id="5" creationId="{AED52628-4E1D-44B9-85F1-7EDD51603301}"/>
          </ac:graphicFrameMkLst>
        </pc:graphicFrameChg>
      </pc:sldChg>
      <pc:sldChg chg="modSp mod">
        <pc:chgData name="Bente De Rijke (DHL SSC Maastricht)" userId="475646eb-b23c-43c0-b2ae-71e1fde9b74e" providerId="ADAL" clId="{F28DB440-ADF2-4205-9C03-032A231D6973}" dt="2023-05-26T16:35:00.376" v="95"/>
        <pc:sldMkLst>
          <pc:docMk/>
          <pc:sldMk cId="1821634311" sldId="445"/>
        </pc:sldMkLst>
        <pc:spChg chg="mod">
          <ac:chgData name="Bente De Rijke (DHL SSC Maastricht)" userId="475646eb-b23c-43c0-b2ae-71e1fde9b74e" providerId="ADAL" clId="{F28DB440-ADF2-4205-9C03-032A231D6973}" dt="2023-05-26T16:35:00.376" v="95"/>
          <ac:spMkLst>
            <pc:docMk/>
            <pc:sldMk cId="1821634311" sldId="445"/>
            <ac:spMk id="10" creationId="{9F482F38-CB6C-FC92-3ACF-B6DDA541BB3D}"/>
          </ac:spMkLst>
        </pc:spChg>
      </pc:sldChg>
      <pc:sldChg chg="add">
        <pc:chgData name="Bente De Rijke (DHL SSC Maastricht)" userId="475646eb-b23c-43c0-b2ae-71e1fde9b74e" providerId="ADAL" clId="{F28DB440-ADF2-4205-9C03-032A231D6973}" dt="2023-05-24T12:57:18.139" v="0"/>
        <pc:sldMkLst>
          <pc:docMk/>
          <pc:sldMk cId="1456632051" sldId="446"/>
        </pc:sldMkLst>
      </pc:sldChg>
      <pc:sldChg chg="add del">
        <pc:chgData name="Bente De Rijke (DHL SSC Maastricht)" userId="475646eb-b23c-43c0-b2ae-71e1fde9b74e" providerId="ADAL" clId="{F28DB440-ADF2-4205-9C03-032A231D6973}" dt="2023-07-14T16:50:38.643" v="103" actId="47"/>
        <pc:sldMkLst>
          <pc:docMk/>
          <pc:sldMk cId="133774027" sldId="447"/>
        </pc:sldMkLst>
      </pc:sldChg>
      <pc:sldMasterChg chg="delSldLayout">
        <pc:chgData name="Bente De Rijke (DHL SSC Maastricht)" userId="475646eb-b23c-43c0-b2ae-71e1fde9b74e" providerId="ADAL" clId="{F28DB440-ADF2-4205-9C03-032A231D6973}" dt="2023-07-14T16:50:38.643" v="103" actId="47"/>
        <pc:sldMasterMkLst>
          <pc:docMk/>
          <pc:sldMasterMk cId="452284608" sldId="2147484031"/>
        </pc:sldMasterMkLst>
        <pc:sldLayoutChg chg="del">
          <pc:chgData name="Bente De Rijke (DHL SSC Maastricht)" userId="475646eb-b23c-43c0-b2ae-71e1fde9b74e" providerId="ADAL" clId="{F28DB440-ADF2-4205-9C03-032A231D6973}" dt="2023-07-14T16:50:38.643" v="103" actId="47"/>
          <pc:sldLayoutMkLst>
            <pc:docMk/>
            <pc:sldMasterMk cId="452284608" sldId="2147484031"/>
            <pc:sldLayoutMk cId="1826298427" sldId="2147484049"/>
          </pc:sldLayoutMkLst>
        </pc:sldLayoutChg>
      </pc:sldMasterChg>
    </pc:docChg>
  </pc:docChgLst>
  <pc:docChgLst>
    <pc:chgData name="Mercedes Cabrera (DHL PY)" userId="S::mercedes.cabrera@dhl.com::e49035f4-3ec3-4597-9246-7462e8ac7505" providerId="AD" clId="Web-{8D2D1BCD-0440-7B7F-0535-9891BC851BA0}"/>
    <pc:docChg chg="modSld">
      <pc:chgData name="Mercedes Cabrera (DHL PY)" userId="S::mercedes.cabrera@dhl.com::e49035f4-3ec3-4597-9246-7462e8ac7505" providerId="AD" clId="Web-{8D2D1BCD-0440-7B7F-0535-9891BC851BA0}" dt="2023-08-21T23:11:14.969" v="31" actId="20577"/>
      <pc:docMkLst>
        <pc:docMk/>
      </pc:docMkLst>
      <pc:sldChg chg="modSp">
        <pc:chgData name="Mercedes Cabrera (DHL PY)" userId="S::mercedes.cabrera@dhl.com::e49035f4-3ec3-4597-9246-7462e8ac7505" providerId="AD" clId="Web-{8D2D1BCD-0440-7B7F-0535-9891BC851BA0}" dt="2023-08-21T23:11:14.969" v="31" actId="20577"/>
        <pc:sldMkLst>
          <pc:docMk/>
          <pc:sldMk cId="2338473233" sldId="258"/>
        </pc:sldMkLst>
        <pc:spChg chg="mod">
          <ac:chgData name="Mercedes Cabrera (DHL PY)" userId="S::mercedes.cabrera@dhl.com::e49035f4-3ec3-4597-9246-7462e8ac7505" providerId="AD" clId="Web-{8D2D1BCD-0440-7B7F-0535-9891BC851BA0}" dt="2023-08-21T23:11:14.969" v="31" actId="20577"/>
          <ac:spMkLst>
            <pc:docMk/>
            <pc:sldMk cId="2338473233" sldId="258"/>
            <ac:spMk id="13" creationId="{08A47195-4824-4907-8AE9-D7AD4BE08E28}"/>
          </ac:spMkLst>
        </pc:spChg>
        <pc:spChg chg="mod">
          <ac:chgData name="Mercedes Cabrera (DHL PY)" userId="S::mercedes.cabrera@dhl.com::e49035f4-3ec3-4597-9246-7462e8ac7505" providerId="AD" clId="Web-{8D2D1BCD-0440-7B7F-0535-9891BC851BA0}" dt="2023-08-21T23:11:13.610" v="23" actId="20577"/>
          <ac:spMkLst>
            <pc:docMk/>
            <pc:sldMk cId="2338473233" sldId="258"/>
            <ac:spMk id="14" creationId="{887328E7-1ABA-4A97-BD13-05DA9C2D8B9D}"/>
          </ac:spMkLst>
        </pc:spChg>
      </pc:sldChg>
    </pc:docChg>
  </pc:docChgLst>
  <pc:docChgLst>
    <pc:chgData name="Bente" userId="475646eb-b23c-43c0-b2ae-71e1fde9b74e" providerId="ADAL" clId="{F28DB440-ADF2-4205-9C03-032A231D6973}"/>
    <pc:docChg chg="delSld modSld">
      <pc:chgData name="Bente" userId="475646eb-b23c-43c0-b2ae-71e1fde9b74e" providerId="ADAL" clId="{F28DB440-ADF2-4205-9C03-032A231D6973}" dt="2023-07-10T08:58:04.927" v="2" actId="47"/>
      <pc:docMkLst>
        <pc:docMk/>
      </pc:docMkLst>
      <pc:sldChg chg="del">
        <pc:chgData name="Bente" userId="475646eb-b23c-43c0-b2ae-71e1fde9b74e" providerId="ADAL" clId="{F28DB440-ADF2-4205-9C03-032A231D6973}" dt="2023-07-10T08:58:04.927" v="2" actId="47"/>
        <pc:sldMkLst>
          <pc:docMk/>
          <pc:sldMk cId="744229540" sldId="416"/>
        </pc:sldMkLst>
      </pc:sldChg>
      <pc:sldChg chg="del">
        <pc:chgData name="Bente" userId="475646eb-b23c-43c0-b2ae-71e1fde9b74e" providerId="ADAL" clId="{F28DB440-ADF2-4205-9C03-032A231D6973}" dt="2023-07-10T08:58:04.927" v="2" actId="47"/>
        <pc:sldMkLst>
          <pc:docMk/>
          <pc:sldMk cId="1152412950" sldId="421"/>
        </pc:sldMkLst>
      </pc:sldChg>
      <pc:sldChg chg="modSp del mod">
        <pc:chgData name="Bente" userId="475646eb-b23c-43c0-b2ae-71e1fde9b74e" providerId="ADAL" clId="{F28DB440-ADF2-4205-9C03-032A231D6973}" dt="2023-07-10T08:58:04.927" v="2" actId="47"/>
        <pc:sldMkLst>
          <pc:docMk/>
          <pc:sldMk cId="1596748458" sldId="424"/>
        </pc:sldMkLst>
        <pc:spChg chg="mod">
          <ac:chgData name="Bente" userId="475646eb-b23c-43c0-b2ae-71e1fde9b74e" providerId="ADAL" clId="{F28DB440-ADF2-4205-9C03-032A231D6973}" dt="2023-07-10T08:55:21.314" v="1" actId="20577"/>
          <ac:spMkLst>
            <pc:docMk/>
            <pc:sldMk cId="1596748458" sldId="424"/>
            <ac:spMk id="5" creationId="{E79BE60A-CDBD-869C-4683-207046B2F5B7}"/>
          </ac:spMkLst>
        </pc:spChg>
      </pc:sldChg>
      <pc:sldChg chg="del">
        <pc:chgData name="Bente" userId="475646eb-b23c-43c0-b2ae-71e1fde9b74e" providerId="ADAL" clId="{F28DB440-ADF2-4205-9C03-032A231D6973}" dt="2023-07-10T08:58:04.927" v="2" actId="47"/>
        <pc:sldMkLst>
          <pc:docMk/>
          <pc:sldMk cId="2746475387" sldId="443"/>
        </pc:sldMkLst>
      </pc:sldChg>
      <pc:sldChg chg="del">
        <pc:chgData name="Bente" userId="475646eb-b23c-43c0-b2ae-71e1fde9b74e" providerId="ADAL" clId="{F28DB440-ADF2-4205-9C03-032A231D6973}" dt="2023-07-10T08:58:04.927" v="2" actId="47"/>
        <pc:sldMkLst>
          <pc:docMk/>
          <pc:sldMk cId="2054384902" sldId="444"/>
        </pc:sldMkLst>
      </pc:sldChg>
      <pc:sldChg chg="del">
        <pc:chgData name="Bente" userId="475646eb-b23c-43c0-b2ae-71e1fde9b74e" providerId="ADAL" clId="{F28DB440-ADF2-4205-9C03-032A231D6973}" dt="2023-07-10T08:58:04.927" v="2" actId="47"/>
        <pc:sldMkLst>
          <pc:docMk/>
          <pc:sldMk cId="1821634311" sldId="445"/>
        </pc:sldMkLst>
      </pc:sldChg>
      <pc:sldMasterChg chg="delSldLayout">
        <pc:chgData name="Bente" userId="475646eb-b23c-43c0-b2ae-71e1fde9b74e" providerId="ADAL" clId="{F28DB440-ADF2-4205-9C03-032A231D6973}" dt="2023-07-10T08:58:04.927" v="2" actId="47"/>
        <pc:sldMasterMkLst>
          <pc:docMk/>
          <pc:sldMasterMk cId="452284608" sldId="2147484031"/>
        </pc:sldMasterMkLst>
        <pc:sldLayoutChg chg="del">
          <pc:chgData name="Bente" userId="475646eb-b23c-43c0-b2ae-71e1fde9b74e" providerId="ADAL" clId="{F28DB440-ADF2-4205-9C03-032A231D6973}" dt="2023-07-10T08:58:04.927" v="2" actId="47"/>
          <pc:sldLayoutMkLst>
            <pc:docMk/>
            <pc:sldMasterMk cId="452284608" sldId="2147484031"/>
            <pc:sldLayoutMk cId="570420241" sldId="2147484045"/>
          </pc:sldLayoutMkLst>
        </pc:sldLayoutChg>
        <pc:sldLayoutChg chg="del">
          <pc:chgData name="Bente" userId="475646eb-b23c-43c0-b2ae-71e1fde9b74e" providerId="ADAL" clId="{F28DB440-ADF2-4205-9C03-032A231D6973}" dt="2023-07-10T08:58:04.927" v="2" actId="47"/>
          <pc:sldLayoutMkLst>
            <pc:docMk/>
            <pc:sldMasterMk cId="452284608" sldId="2147484031"/>
            <pc:sldLayoutMk cId="3972595220" sldId="2147484046"/>
          </pc:sldLayoutMkLst>
        </pc:sldLayoutChg>
      </pc:sldMasterChg>
    </pc:docChg>
  </pc:docChgLst>
  <pc:docChgLst>
    <pc:chgData name="Hans Gelissen (DHL SSC Maastricht)" userId="1afa8510-4eed-4b73-a29e-678838cd8acd" providerId="ADAL" clId="{4115B80A-68E3-4082-B4A0-52601A5B3EAB}"/>
    <pc:docChg chg="custSel modSld modMainMaster">
      <pc:chgData name="Hans Gelissen (DHL SSC Maastricht)" userId="1afa8510-4eed-4b73-a29e-678838cd8acd" providerId="ADAL" clId="{4115B80A-68E3-4082-B4A0-52601A5B3EAB}" dt="2023-06-30T15:16:04.962" v="16" actId="478"/>
      <pc:docMkLst>
        <pc:docMk/>
      </pc:docMkLst>
      <pc:sldChg chg="addSp delSp modSp mod modClrScheme chgLayout">
        <pc:chgData name="Hans Gelissen (DHL SSC Maastricht)" userId="1afa8510-4eed-4b73-a29e-678838cd8acd" providerId="ADAL" clId="{4115B80A-68E3-4082-B4A0-52601A5B3EAB}" dt="2023-06-30T15:16:04.962" v="16" actId="478"/>
        <pc:sldMkLst>
          <pc:docMk/>
          <pc:sldMk cId="3424008277" sldId="435"/>
        </pc:sldMkLst>
        <pc:spChg chg="mod ord">
          <ac:chgData name="Hans Gelissen (DHL SSC Maastricht)" userId="1afa8510-4eed-4b73-a29e-678838cd8acd" providerId="ADAL" clId="{4115B80A-68E3-4082-B4A0-52601A5B3EAB}" dt="2023-06-30T15:16:01.603" v="15" actId="700"/>
          <ac:spMkLst>
            <pc:docMk/>
            <pc:sldMk cId="3424008277" sldId="435"/>
            <ac:spMk id="2" creationId="{EA6311F4-788F-B009-6145-B306FA7D9BB2}"/>
          </ac:spMkLst>
        </pc:spChg>
        <pc:spChg chg="add del mod ord">
          <ac:chgData name="Hans Gelissen (DHL SSC Maastricht)" userId="1afa8510-4eed-4b73-a29e-678838cd8acd" providerId="ADAL" clId="{4115B80A-68E3-4082-B4A0-52601A5B3EAB}" dt="2023-06-30T15:16:04.962" v="16" actId="478"/>
          <ac:spMkLst>
            <pc:docMk/>
            <pc:sldMk cId="3424008277" sldId="435"/>
            <ac:spMk id="3" creationId="{3D6A9DD2-FF7C-872A-80FF-C87A7B0E0B65}"/>
          </ac:spMkLst>
        </pc:spChg>
      </pc:sldChg>
      <pc:sldMasterChg chg="modSp mod modSldLayout">
        <pc:chgData name="Hans Gelissen (DHL SSC Maastricht)" userId="1afa8510-4eed-4b73-a29e-678838cd8acd" providerId="ADAL" clId="{4115B80A-68E3-4082-B4A0-52601A5B3EAB}" dt="2023-06-30T15:14:37.855" v="14"/>
        <pc:sldMasterMkLst>
          <pc:docMk/>
          <pc:sldMasterMk cId="727954729" sldId="2147483772"/>
        </pc:sldMasterMkLst>
        <pc:spChg chg="mod">
          <ac:chgData name="Hans Gelissen (DHL SSC Maastricht)" userId="1afa8510-4eed-4b73-a29e-678838cd8acd" providerId="ADAL" clId="{4115B80A-68E3-4082-B4A0-52601A5B3EAB}" dt="2023-06-30T15:13:36.595" v="3" actId="113"/>
          <ac:spMkLst>
            <pc:docMk/>
            <pc:sldMasterMk cId="727954729" sldId="2147483772"/>
            <ac:spMk id="2" creationId="{9B6C9B6F-FA65-7036-8FA4-35FEF6BF24FF}"/>
          </ac:spMkLst>
        </pc:spChg>
        <pc:sldLayoutChg chg="addSp modSp">
          <pc:chgData name="Hans Gelissen (DHL SSC Maastricht)" userId="1afa8510-4eed-4b73-a29e-678838cd8acd" providerId="ADAL" clId="{4115B80A-68E3-4082-B4A0-52601A5B3EAB}" dt="2023-06-30T15:13:48.167" v="4"/>
          <pc:sldLayoutMkLst>
            <pc:docMk/>
            <pc:sldMasterMk cId="727954729" sldId="2147483772"/>
            <pc:sldLayoutMk cId="1997391794" sldId="2147483734"/>
          </pc:sldLayoutMkLst>
          <pc:spChg chg="add mod">
            <ac:chgData name="Hans Gelissen (DHL SSC Maastricht)" userId="1afa8510-4eed-4b73-a29e-678838cd8acd" providerId="ADAL" clId="{4115B80A-68E3-4082-B4A0-52601A5B3EAB}" dt="2023-06-30T15:13:48.167" v="4"/>
            <ac:spMkLst>
              <pc:docMk/>
              <pc:sldMasterMk cId="727954729" sldId="2147483772"/>
              <pc:sldLayoutMk cId="1997391794" sldId="2147483734"/>
              <ac:spMk id="4" creationId="{BD7F1694-7EE8-2A17-9795-81B06C25DF36}"/>
            </ac:spMkLst>
          </pc:spChg>
        </pc:sldLayoutChg>
        <pc:sldLayoutChg chg="addSp modSp">
          <pc:chgData name="Hans Gelissen (DHL SSC Maastricht)" userId="1afa8510-4eed-4b73-a29e-678838cd8acd" providerId="ADAL" clId="{4115B80A-68E3-4082-B4A0-52601A5B3EAB}" dt="2023-06-30T15:13:51.031" v="5"/>
          <pc:sldLayoutMkLst>
            <pc:docMk/>
            <pc:sldMasterMk cId="727954729" sldId="2147483772"/>
            <pc:sldLayoutMk cId="3070187357" sldId="2147483773"/>
          </pc:sldLayoutMkLst>
          <pc:spChg chg="add mod">
            <ac:chgData name="Hans Gelissen (DHL SSC Maastricht)" userId="1afa8510-4eed-4b73-a29e-678838cd8acd" providerId="ADAL" clId="{4115B80A-68E3-4082-B4A0-52601A5B3EAB}" dt="2023-06-30T15:13:51.031" v="5"/>
            <ac:spMkLst>
              <pc:docMk/>
              <pc:sldMasterMk cId="727954729" sldId="2147483772"/>
              <pc:sldLayoutMk cId="3070187357" sldId="2147483773"/>
              <ac:spMk id="4" creationId="{75BFCA33-7768-BE6A-7593-456240C10343}"/>
            </ac:spMkLst>
          </pc:spChg>
        </pc:sldLayoutChg>
        <pc:sldLayoutChg chg="addSp modSp">
          <pc:chgData name="Hans Gelissen (DHL SSC Maastricht)" userId="1afa8510-4eed-4b73-a29e-678838cd8acd" providerId="ADAL" clId="{4115B80A-68E3-4082-B4A0-52601A5B3EAB}" dt="2023-06-30T15:13:53.071" v="6"/>
          <pc:sldLayoutMkLst>
            <pc:docMk/>
            <pc:sldMasterMk cId="727954729" sldId="2147483772"/>
            <pc:sldLayoutMk cId="2597155215" sldId="2147483774"/>
          </pc:sldLayoutMkLst>
          <pc:spChg chg="add mod">
            <ac:chgData name="Hans Gelissen (DHL SSC Maastricht)" userId="1afa8510-4eed-4b73-a29e-678838cd8acd" providerId="ADAL" clId="{4115B80A-68E3-4082-B4A0-52601A5B3EAB}" dt="2023-06-30T15:13:53.071" v="6"/>
            <ac:spMkLst>
              <pc:docMk/>
              <pc:sldMasterMk cId="727954729" sldId="2147483772"/>
              <pc:sldLayoutMk cId="2597155215" sldId="2147483774"/>
              <ac:spMk id="4" creationId="{EAEED896-2B9B-D0D8-CB9F-35FCA574CDB2}"/>
            </ac:spMkLst>
          </pc:spChg>
        </pc:sldLayoutChg>
        <pc:sldLayoutChg chg="addSp modSp">
          <pc:chgData name="Hans Gelissen (DHL SSC Maastricht)" userId="1afa8510-4eed-4b73-a29e-678838cd8acd" providerId="ADAL" clId="{4115B80A-68E3-4082-B4A0-52601A5B3EAB}" dt="2023-06-30T15:13:55.223" v="7"/>
          <pc:sldLayoutMkLst>
            <pc:docMk/>
            <pc:sldMasterMk cId="727954729" sldId="2147483772"/>
            <pc:sldLayoutMk cId="1441526566" sldId="2147484017"/>
          </pc:sldLayoutMkLst>
          <pc:spChg chg="add mod">
            <ac:chgData name="Hans Gelissen (DHL SSC Maastricht)" userId="1afa8510-4eed-4b73-a29e-678838cd8acd" providerId="ADAL" clId="{4115B80A-68E3-4082-B4A0-52601A5B3EAB}" dt="2023-06-30T15:13:55.223" v="7"/>
            <ac:spMkLst>
              <pc:docMk/>
              <pc:sldMasterMk cId="727954729" sldId="2147483772"/>
              <pc:sldLayoutMk cId="1441526566" sldId="2147484017"/>
              <ac:spMk id="3" creationId="{462C45AA-710D-1486-5094-D19ABD237CF1}"/>
            </ac:spMkLst>
          </pc:spChg>
        </pc:sldLayoutChg>
        <pc:sldLayoutChg chg="addSp modSp">
          <pc:chgData name="Hans Gelissen (DHL SSC Maastricht)" userId="1afa8510-4eed-4b73-a29e-678838cd8acd" providerId="ADAL" clId="{4115B80A-68E3-4082-B4A0-52601A5B3EAB}" dt="2023-06-30T15:13:56.988" v="8"/>
          <pc:sldLayoutMkLst>
            <pc:docMk/>
            <pc:sldMasterMk cId="727954729" sldId="2147483772"/>
            <pc:sldLayoutMk cId="3489306472" sldId="2147484018"/>
          </pc:sldLayoutMkLst>
          <pc:spChg chg="add mod">
            <ac:chgData name="Hans Gelissen (DHL SSC Maastricht)" userId="1afa8510-4eed-4b73-a29e-678838cd8acd" providerId="ADAL" clId="{4115B80A-68E3-4082-B4A0-52601A5B3EAB}" dt="2023-06-30T15:13:56.988" v="8"/>
            <ac:spMkLst>
              <pc:docMk/>
              <pc:sldMasterMk cId="727954729" sldId="2147483772"/>
              <pc:sldLayoutMk cId="3489306472" sldId="2147484018"/>
              <ac:spMk id="3" creationId="{ED97271C-D8CF-8FB4-D8E3-235BCCD7F68F}"/>
            </ac:spMkLst>
          </pc:spChg>
        </pc:sldLayoutChg>
        <pc:sldLayoutChg chg="addSp modSp">
          <pc:chgData name="Hans Gelissen (DHL SSC Maastricht)" userId="1afa8510-4eed-4b73-a29e-678838cd8acd" providerId="ADAL" clId="{4115B80A-68E3-4082-B4A0-52601A5B3EAB}" dt="2023-06-30T15:13:58.927" v="9"/>
          <pc:sldLayoutMkLst>
            <pc:docMk/>
            <pc:sldMasterMk cId="727954729" sldId="2147483772"/>
            <pc:sldLayoutMk cId="215789223" sldId="2147484019"/>
          </pc:sldLayoutMkLst>
          <pc:spChg chg="add mod">
            <ac:chgData name="Hans Gelissen (DHL SSC Maastricht)" userId="1afa8510-4eed-4b73-a29e-678838cd8acd" providerId="ADAL" clId="{4115B80A-68E3-4082-B4A0-52601A5B3EAB}" dt="2023-06-30T15:13:58.927" v="9"/>
            <ac:spMkLst>
              <pc:docMk/>
              <pc:sldMasterMk cId="727954729" sldId="2147483772"/>
              <pc:sldLayoutMk cId="215789223" sldId="2147484019"/>
              <ac:spMk id="3" creationId="{06B9E501-4F00-C841-8024-B9429ECFD087}"/>
            </ac:spMkLst>
          </pc:spChg>
        </pc:sldLayoutChg>
        <pc:sldLayoutChg chg="addSp modSp">
          <pc:chgData name="Hans Gelissen (DHL SSC Maastricht)" userId="1afa8510-4eed-4b73-a29e-678838cd8acd" providerId="ADAL" clId="{4115B80A-68E3-4082-B4A0-52601A5B3EAB}" dt="2023-06-30T15:14:00.911" v="10"/>
          <pc:sldLayoutMkLst>
            <pc:docMk/>
            <pc:sldMasterMk cId="727954729" sldId="2147483772"/>
            <pc:sldLayoutMk cId="3201581599" sldId="2147484021"/>
          </pc:sldLayoutMkLst>
          <pc:spChg chg="add mod">
            <ac:chgData name="Hans Gelissen (DHL SSC Maastricht)" userId="1afa8510-4eed-4b73-a29e-678838cd8acd" providerId="ADAL" clId="{4115B80A-68E3-4082-B4A0-52601A5B3EAB}" dt="2023-06-30T15:14:00.911" v="10"/>
            <ac:spMkLst>
              <pc:docMk/>
              <pc:sldMasterMk cId="727954729" sldId="2147483772"/>
              <pc:sldLayoutMk cId="3201581599" sldId="2147484021"/>
              <ac:spMk id="3" creationId="{0CD6E51D-83E2-0901-4632-48EEDACF1084}"/>
            </ac:spMkLst>
          </pc:spChg>
        </pc:sldLayoutChg>
        <pc:sldLayoutChg chg="addSp modSp">
          <pc:chgData name="Hans Gelissen (DHL SSC Maastricht)" userId="1afa8510-4eed-4b73-a29e-678838cd8acd" providerId="ADAL" clId="{4115B80A-68E3-4082-B4A0-52601A5B3EAB}" dt="2023-06-30T15:14:05.783" v="11"/>
          <pc:sldLayoutMkLst>
            <pc:docMk/>
            <pc:sldMasterMk cId="727954729" sldId="2147483772"/>
            <pc:sldLayoutMk cId="743163496" sldId="2147484022"/>
          </pc:sldLayoutMkLst>
          <pc:spChg chg="add mod">
            <ac:chgData name="Hans Gelissen (DHL SSC Maastricht)" userId="1afa8510-4eed-4b73-a29e-678838cd8acd" providerId="ADAL" clId="{4115B80A-68E3-4082-B4A0-52601A5B3EAB}" dt="2023-06-30T15:14:05.783" v="11"/>
            <ac:spMkLst>
              <pc:docMk/>
              <pc:sldMasterMk cId="727954729" sldId="2147483772"/>
              <pc:sldLayoutMk cId="743163496" sldId="2147484022"/>
              <ac:spMk id="3" creationId="{F25A8ADA-BE84-E32A-7E41-F9C0D4F92DB7}"/>
            </ac:spMkLst>
          </pc:spChg>
        </pc:sldLayoutChg>
        <pc:sldLayoutChg chg="addSp modSp">
          <pc:chgData name="Hans Gelissen (DHL SSC Maastricht)" userId="1afa8510-4eed-4b73-a29e-678838cd8acd" providerId="ADAL" clId="{4115B80A-68E3-4082-B4A0-52601A5B3EAB}" dt="2023-06-30T15:14:07.724" v="12"/>
          <pc:sldLayoutMkLst>
            <pc:docMk/>
            <pc:sldMasterMk cId="727954729" sldId="2147483772"/>
            <pc:sldLayoutMk cId="636865668" sldId="2147484023"/>
          </pc:sldLayoutMkLst>
          <pc:spChg chg="add mod">
            <ac:chgData name="Hans Gelissen (DHL SSC Maastricht)" userId="1afa8510-4eed-4b73-a29e-678838cd8acd" providerId="ADAL" clId="{4115B80A-68E3-4082-B4A0-52601A5B3EAB}" dt="2023-06-30T15:14:07.724" v="12"/>
            <ac:spMkLst>
              <pc:docMk/>
              <pc:sldMasterMk cId="727954729" sldId="2147483772"/>
              <pc:sldLayoutMk cId="636865668" sldId="2147484023"/>
              <ac:spMk id="3" creationId="{D4D958CD-FBF0-2A2D-96D2-1DBAADD51C2A}"/>
            </ac:spMkLst>
          </pc:spChg>
        </pc:sldLayoutChg>
        <pc:sldLayoutChg chg="addSp modSp">
          <pc:chgData name="Hans Gelissen (DHL SSC Maastricht)" userId="1afa8510-4eed-4b73-a29e-678838cd8acd" providerId="ADAL" clId="{4115B80A-68E3-4082-B4A0-52601A5B3EAB}" dt="2023-06-30T15:14:35.487" v="13"/>
          <pc:sldLayoutMkLst>
            <pc:docMk/>
            <pc:sldMasterMk cId="727954729" sldId="2147483772"/>
            <pc:sldLayoutMk cId="2943944997" sldId="2147484026"/>
          </pc:sldLayoutMkLst>
          <pc:spChg chg="add mod">
            <ac:chgData name="Hans Gelissen (DHL SSC Maastricht)" userId="1afa8510-4eed-4b73-a29e-678838cd8acd" providerId="ADAL" clId="{4115B80A-68E3-4082-B4A0-52601A5B3EAB}" dt="2023-06-30T15:14:35.487" v="13"/>
            <ac:spMkLst>
              <pc:docMk/>
              <pc:sldMasterMk cId="727954729" sldId="2147483772"/>
              <pc:sldLayoutMk cId="2943944997" sldId="2147484026"/>
              <ac:spMk id="3" creationId="{69B2084B-9BFC-FCB2-B5A2-6E97DD76A295}"/>
            </ac:spMkLst>
          </pc:spChg>
        </pc:sldLayoutChg>
        <pc:sldLayoutChg chg="addSp modSp">
          <pc:chgData name="Hans Gelissen (DHL SSC Maastricht)" userId="1afa8510-4eed-4b73-a29e-678838cd8acd" providerId="ADAL" clId="{4115B80A-68E3-4082-B4A0-52601A5B3EAB}" dt="2023-06-30T15:14:37.855" v="14"/>
          <pc:sldLayoutMkLst>
            <pc:docMk/>
            <pc:sldMasterMk cId="727954729" sldId="2147483772"/>
            <pc:sldLayoutMk cId="470324799" sldId="2147484027"/>
          </pc:sldLayoutMkLst>
          <pc:spChg chg="add mod">
            <ac:chgData name="Hans Gelissen (DHL SSC Maastricht)" userId="1afa8510-4eed-4b73-a29e-678838cd8acd" providerId="ADAL" clId="{4115B80A-68E3-4082-B4A0-52601A5B3EAB}" dt="2023-06-30T15:14:37.855" v="14"/>
            <ac:spMkLst>
              <pc:docMk/>
              <pc:sldMasterMk cId="727954729" sldId="2147483772"/>
              <pc:sldLayoutMk cId="470324799" sldId="2147484027"/>
              <ac:spMk id="3" creationId="{490E1975-0619-7C19-6DE1-1B86BF3D3245}"/>
            </ac:spMkLst>
          </pc:spChg>
        </pc:sldLayoutChg>
      </pc:sldMasterChg>
    </pc:docChg>
  </pc:docChgLst>
  <pc:docChgLst>
    <pc:chgData name="Hans Gelissen (DHL SSC Maastricht)" userId="1afa8510-4eed-4b73-a29e-678838cd8acd" providerId="ADAL" clId="{0D858F43-B312-4597-9BE0-00D4CFEB0FD6}"/>
    <pc:docChg chg="custSel modMainMaster">
      <pc:chgData name="Hans Gelissen (DHL SSC Maastricht)" userId="1afa8510-4eed-4b73-a29e-678838cd8acd" providerId="ADAL" clId="{0D858F43-B312-4597-9BE0-00D4CFEB0FD6}" dt="2023-07-06T12:46:25.963" v="163"/>
      <pc:docMkLst>
        <pc:docMk/>
      </pc:docMkLst>
      <pc:sldMasterChg chg="modSp mod modSldLayout">
        <pc:chgData name="Hans Gelissen (DHL SSC Maastricht)" userId="1afa8510-4eed-4b73-a29e-678838cd8acd" providerId="ADAL" clId="{0D858F43-B312-4597-9BE0-00D4CFEB0FD6}" dt="2023-07-06T12:43:57.264" v="9"/>
        <pc:sldMasterMkLst>
          <pc:docMk/>
          <pc:sldMasterMk cId="2253695231" sldId="2147483754"/>
        </pc:sldMasterMkLst>
        <pc:spChg chg="mod">
          <ac:chgData name="Hans Gelissen (DHL SSC Maastricht)" userId="1afa8510-4eed-4b73-a29e-678838cd8acd" providerId="ADAL" clId="{0D858F43-B312-4597-9BE0-00D4CFEB0FD6}" dt="2023-07-06T12:43:40.058" v="5" actId="113"/>
          <ac:spMkLst>
            <pc:docMk/>
            <pc:sldMasterMk cId="2253695231" sldId="2147483754"/>
            <ac:spMk id="2" creationId="{CA189D84-B0AF-4AF1-6C26-F77162A6C055}"/>
          </ac:spMkLst>
        </pc:spChg>
        <pc:sldLayoutChg chg="addSp modSp">
          <pc:chgData name="Hans Gelissen (DHL SSC Maastricht)" userId="1afa8510-4eed-4b73-a29e-678838cd8acd" providerId="ADAL" clId="{0D858F43-B312-4597-9BE0-00D4CFEB0FD6}" dt="2023-07-06T12:43:51.647" v="6"/>
          <pc:sldLayoutMkLst>
            <pc:docMk/>
            <pc:sldMasterMk cId="2253695231" sldId="2147483754"/>
            <pc:sldLayoutMk cId="3898754725" sldId="2147484042"/>
          </pc:sldLayoutMkLst>
          <pc:spChg chg="add mod">
            <ac:chgData name="Hans Gelissen (DHL SSC Maastricht)" userId="1afa8510-4eed-4b73-a29e-678838cd8acd" providerId="ADAL" clId="{0D858F43-B312-4597-9BE0-00D4CFEB0FD6}" dt="2023-07-06T12:43:51.647" v="6"/>
            <ac:spMkLst>
              <pc:docMk/>
              <pc:sldMasterMk cId="2253695231" sldId="2147483754"/>
              <pc:sldLayoutMk cId="3898754725" sldId="2147484042"/>
              <ac:spMk id="2" creationId="{82C14645-1D98-F50C-A56F-05CD41376F91}"/>
            </ac:spMkLst>
          </pc:spChg>
        </pc:sldLayoutChg>
        <pc:sldLayoutChg chg="addSp modSp">
          <pc:chgData name="Hans Gelissen (DHL SSC Maastricht)" userId="1afa8510-4eed-4b73-a29e-678838cd8acd" providerId="ADAL" clId="{0D858F43-B312-4597-9BE0-00D4CFEB0FD6}" dt="2023-07-06T12:43:53.221" v="7"/>
          <pc:sldLayoutMkLst>
            <pc:docMk/>
            <pc:sldMasterMk cId="2253695231" sldId="2147483754"/>
            <pc:sldLayoutMk cId="2612442982" sldId="2147484043"/>
          </pc:sldLayoutMkLst>
          <pc:spChg chg="add mod">
            <ac:chgData name="Hans Gelissen (DHL SSC Maastricht)" userId="1afa8510-4eed-4b73-a29e-678838cd8acd" providerId="ADAL" clId="{0D858F43-B312-4597-9BE0-00D4CFEB0FD6}" dt="2023-07-06T12:43:53.221" v="7"/>
            <ac:spMkLst>
              <pc:docMk/>
              <pc:sldMasterMk cId="2253695231" sldId="2147483754"/>
              <pc:sldLayoutMk cId="2612442982" sldId="2147484043"/>
              <ac:spMk id="2" creationId="{4D4399CC-69FA-4C71-A24E-8D5FD200490A}"/>
            </ac:spMkLst>
          </pc:spChg>
        </pc:sldLayoutChg>
        <pc:sldLayoutChg chg="addSp modSp">
          <pc:chgData name="Hans Gelissen (DHL SSC Maastricht)" userId="1afa8510-4eed-4b73-a29e-678838cd8acd" providerId="ADAL" clId="{0D858F43-B312-4597-9BE0-00D4CFEB0FD6}" dt="2023-07-06T12:43:55.108" v="8"/>
          <pc:sldLayoutMkLst>
            <pc:docMk/>
            <pc:sldMasterMk cId="2253695231" sldId="2147483754"/>
            <pc:sldLayoutMk cId="1151233661" sldId="2147484044"/>
          </pc:sldLayoutMkLst>
          <pc:spChg chg="add mod">
            <ac:chgData name="Hans Gelissen (DHL SSC Maastricht)" userId="1afa8510-4eed-4b73-a29e-678838cd8acd" providerId="ADAL" clId="{0D858F43-B312-4597-9BE0-00D4CFEB0FD6}" dt="2023-07-06T12:43:55.108" v="8"/>
            <ac:spMkLst>
              <pc:docMk/>
              <pc:sldMasterMk cId="2253695231" sldId="2147483754"/>
              <pc:sldLayoutMk cId="1151233661" sldId="2147484044"/>
              <ac:spMk id="2" creationId="{77B1E72D-2313-85B1-A527-7F099D9059C4}"/>
            </ac:spMkLst>
          </pc:spChg>
        </pc:sldLayoutChg>
        <pc:sldLayoutChg chg="addSp modSp">
          <pc:chgData name="Hans Gelissen (DHL SSC Maastricht)" userId="1afa8510-4eed-4b73-a29e-678838cd8acd" providerId="ADAL" clId="{0D858F43-B312-4597-9BE0-00D4CFEB0FD6}" dt="2023-07-06T12:43:57.264" v="9"/>
          <pc:sldLayoutMkLst>
            <pc:docMk/>
            <pc:sldMasterMk cId="2253695231" sldId="2147483754"/>
            <pc:sldLayoutMk cId="646542367" sldId="2147484048"/>
          </pc:sldLayoutMkLst>
          <pc:spChg chg="add mod">
            <ac:chgData name="Hans Gelissen (DHL SSC Maastricht)" userId="1afa8510-4eed-4b73-a29e-678838cd8acd" providerId="ADAL" clId="{0D858F43-B312-4597-9BE0-00D4CFEB0FD6}" dt="2023-07-06T12:43:57.264" v="9"/>
            <ac:spMkLst>
              <pc:docMk/>
              <pc:sldMasterMk cId="2253695231" sldId="2147483754"/>
              <pc:sldLayoutMk cId="646542367" sldId="2147484048"/>
              <ac:spMk id="2" creationId="{9E491176-312E-0737-E37F-3EDBC8406C43}"/>
            </ac:spMkLst>
          </pc:spChg>
        </pc:sldLayoutChg>
      </pc:sldMasterChg>
      <pc:sldMasterChg chg="addSp modSp modSldLayout">
        <pc:chgData name="Hans Gelissen (DHL SSC Maastricht)" userId="1afa8510-4eed-4b73-a29e-678838cd8acd" providerId="ADAL" clId="{0D858F43-B312-4597-9BE0-00D4CFEB0FD6}" dt="2023-07-06T12:45:13.389" v="44"/>
        <pc:sldMasterMkLst>
          <pc:docMk/>
          <pc:sldMasterMk cId="606287967" sldId="2147483766"/>
        </pc:sldMasterMkLst>
        <pc:spChg chg="add mod">
          <ac:chgData name="Hans Gelissen (DHL SSC Maastricht)" userId="1afa8510-4eed-4b73-a29e-678838cd8acd" providerId="ADAL" clId="{0D858F43-B312-4597-9BE0-00D4CFEB0FD6}" dt="2023-07-06T12:44:04.062" v="11"/>
          <ac:spMkLst>
            <pc:docMk/>
            <pc:sldMasterMk cId="606287967" sldId="2147483766"/>
            <ac:spMk id="2" creationId="{6B7EB9C5-5398-6DC1-03BF-2C3C0CD0B54E}"/>
          </ac:spMkLst>
        </pc:spChg>
        <pc:sldLayoutChg chg="addSp modSp">
          <pc:chgData name="Hans Gelissen (DHL SSC Maastricht)" userId="1afa8510-4eed-4b73-a29e-678838cd8acd" providerId="ADAL" clId="{0D858F43-B312-4597-9BE0-00D4CFEB0FD6}" dt="2023-07-06T12:45:05.462" v="26"/>
          <pc:sldLayoutMkLst>
            <pc:docMk/>
            <pc:sldMasterMk cId="606287967" sldId="2147483766"/>
            <pc:sldLayoutMk cId="1258372527" sldId="2147483742"/>
          </pc:sldLayoutMkLst>
          <pc:spChg chg="add mod">
            <ac:chgData name="Hans Gelissen (DHL SSC Maastricht)" userId="1afa8510-4eed-4b73-a29e-678838cd8acd" providerId="ADAL" clId="{0D858F43-B312-4597-9BE0-00D4CFEB0FD6}" dt="2023-07-06T12:45:05.462" v="26"/>
            <ac:spMkLst>
              <pc:docMk/>
              <pc:sldMasterMk cId="606287967" sldId="2147483766"/>
              <pc:sldLayoutMk cId="1258372527" sldId="2147483742"/>
              <ac:spMk id="2" creationId="{F8D745B2-181B-C7FB-25D5-CCB769166FEF}"/>
            </ac:spMkLst>
          </pc:spChg>
        </pc:sldLayoutChg>
        <pc:sldLayoutChg chg="addSp modSp">
          <pc:chgData name="Hans Gelissen (DHL SSC Maastricht)" userId="1afa8510-4eed-4b73-a29e-678838cd8acd" providerId="ADAL" clId="{0D858F43-B312-4597-9BE0-00D4CFEB0FD6}" dt="2023-07-06T12:45:13.389" v="44"/>
          <pc:sldLayoutMkLst>
            <pc:docMk/>
            <pc:sldMasterMk cId="606287967" sldId="2147483766"/>
            <pc:sldLayoutMk cId="757623512" sldId="2147483769"/>
          </pc:sldLayoutMkLst>
          <pc:spChg chg="add mod">
            <ac:chgData name="Hans Gelissen (DHL SSC Maastricht)" userId="1afa8510-4eed-4b73-a29e-678838cd8acd" providerId="ADAL" clId="{0D858F43-B312-4597-9BE0-00D4CFEB0FD6}" dt="2023-07-06T12:45:13.389" v="44"/>
            <ac:spMkLst>
              <pc:docMk/>
              <pc:sldMasterMk cId="606287967" sldId="2147483766"/>
              <pc:sldLayoutMk cId="757623512" sldId="2147483769"/>
              <ac:spMk id="2" creationId="{1428E46F-7D85-7967-F4DE-989B988270E5}"/>
            </ac:spMkLst>
          </pc:spChg>
        </pc:sldLayoutChg>
        <pc:sldLayoutChg chg="addSp modSp">
          <pc:chgData name="Hans Gelissen (DHL SSC Maastricht)" userId="1afa8510-4eed-4b73-a29e-678838cd8acd" providerId="ADAL" clId="{0D858F43-B312-4597-9BE0-00D4CFEB0FD6}" dt="2023-07-06T12:45:05.872" v="27"/>
          <pc:sldLayoutMkLst>
            <pc:docMk/>
            <pc:sldMasterMk cId="606287967" sldId="2147483766"/>
            <pc:sldLayoutMk cId="3810185948" sldId="2147483814"/>
          </pc:sldLayoutMkLst>
          <pc:spChg chg="add mod">
            <ac:chgData name="Hans Gelissen (DHL SSC Maastricht)" userId="1afa8510-4eed-4b73-a29e-678838cd8acd" providerId="ADAL" clId="{0D858F43-B312-4597-9BE0-00D4CFEB0FD6}" dt="2023-07-06T12:45:05.872" v="27"/>
            <ac:spMkLst>
              <pc:docMk/>
              <pc:sldMasterMk cId="606287967" sldId="2147483766"/>
              <pc:sldLayoutMk cId="3810185948" sldId="2147483814"/>
              <ac:spMk id="2" creationId="{C3A99778-2B07-98B7-05CD-5E2321C32897}"/>
            </ac:spMkLst>
          </pc:spChg>
        </pc:sldLayoutChg>
        <pc:sldLayoutChg chg="addSp modSp">
          <pc:chgData name="Hans Gelissen (DHL SSC Maastricht)" userId="1afa8510-4eed-4b73-a29e-678838cd8acd" providerId="ADAL" clId="{0D858F43-B312-4597-9BE0-00D4CFEB0FD6}" dt="2023-07-06T12:45:06.206" v="28"/>
          <pc:sldLayoutMkLst>
            <pc:docMk/>
            <pc:sldMasterMk cId="606287967" sldId="2147483766"/>
            <pc:sldLayoutMk cId="3218068742" sldId="2147483815"/>
          </pc:sldLayoutMkLst>
          <pc:spChg chg="add mod">
            <ac:chgData name="Hans Gelissen (DHL SSC Maastricht)" userId="1afa8510-4eed-4b73-a29e-678838cd8acd" providerId="ADAL" clId="{0D858F43-B312-4597-9BE0-00D4CFEB0FD6}" dt="2023-07-06T12:45:06.206" v="28"/>
            <ac:spMkLst>
              <pc:docMk/>
              <pc:sldMasterMk cId="606287967" sldId="2147483766"/>
              <pc:sldLayoutMk cId="3218068742" sldId="2147483815"/>
              <ac:spMk id="2" creationId="{24B21780-5048-6959-E174-838C6065A25B}"/>
            </ac:spMkLst>
          </pc:spChg>
        </pc:sldLayoutChg>
        <pc:sldLayoutChg chg="addSp modSp">
          <pc:chgData name="Hans Gelissen (DHL SSC Maastricht)" userId="1afa8510-4eed-4b73-a29e-678838cd8acd" providerId="ADAL" clId="{0D858F43-B312-4597-9BE0-00D4CFEB0FD6}" dt="2023-07-06T12:45:07.124" v="30"/>
          <pc:sldLayoutMkLst>
            <pc:docMk/>
            <pc:sldMasterMk cId="606287967" sldId="2147483766"/>
            <pc:sldLayoutMk cId="1696552350" sldId="2147483827"/>
          </pc:sldLayoutMkLst>
          <pc:spChg chg="add mod">
            <ac:chgData name="Hans Gelissen (DHL SSC Maastricht)" userId="1afa8510-4eed-4b73-a29e-678838cd8acd" providerId="ADAL" clId="{0D858F43-B312-4597-9BE0-00D4CFEB0FD6}" dt="2023-07-06T12:45:07.124" v="30"/>
            <ac:spMkLst>
              <pc:docMk/>
              <pc:sldMasterMk cId="606287967" sldId="2147483766"/>
              <pc:sldLayoutMk cId="1696552350" sldId="2147483827"/>
              <ac:spMk id="2" creationId="{FA1639B2-925B-EFA3-8704-24D885E8E741}"/>
            </ac:spMkLst>
          </pc:spChg>
        </pc:sldLayoutChg>
        <pc:sldLayoutChg chg="addSp modSp">
          <pc:chgData name="Hans Gelissen (DHL SSC Maastricht)" userId="1afa8510-4eed-4b73-a29e-678838cd8acd" providerId="ADAL" clId="{0D858F43-B312-4597-9BE0-00D4CFEB0FD6}" dt="2023-07-06T12:45:07.519" v="31"/>
          <pc:sldLayoutMkLst>
            <pc:docMk/>
            <pc:sldMasterMk cId="606287967" sldId="2147483766"/>
            <pc:sldLayoutMk cId="3968345858" sldId="2147483828"/>
          </pc:sldLayoutMkLst>
          <pc:spChg chg="add mod">
            <ac:chgData name="Hans Gelissen (DHL SSC Maastricht)" userId="1afa8510-4eed-4b73-a29e-678838cd8acd" providerId="ADAL" clId="{0D858F43-B312-4597-9BE0-00D4CFEB0FD6}" dt="2023-07-06T12:45:07.519" v="31"/>
            <ac:spMkLst>
              <pc:docMk/>
              <pc:sldMasterMk cId="606287967" sldId="2147483766"/>
              <pc:sldLayoutMk cId="3968345858" sldId="2147483828"/>
              <ac:spMk id="2" creationId="{E7473D66-2932-85B0-98D7-0A529A6118A2}"/>
            </ac:spMkLst>
          </pc:spChg>
        </pc:sldLayoutChg>
        <pc:sldLayoutChg chg="addSp modSp">
          <pc:chgData name="Hans Gelissen (DHL SSC Maastricht)" userId="1afa8510-4eed-4b73-a29e-678838cd8acd" providerId="ADAL" clId="{0D858F43-B312-4597-9BE0-00D4CFEB0FD6}" dt="2023-07-06T12:45:07.934" v="32"/>
          <pc:sldLayoutMkLst>
            <pc:docMk/>
            <pc:sldMasterMk cId="606287967" sldId="2147483766"/>
            <pc:sldLayoutMk cId="875516560" sldId="2147483829"/>
          </pc:sldLayoutMkLst>
          <pc:spChg chg="add mod">
            <ac:chgData name="Hans Gelissen (DHL SSC Maastricht)" userId="1afa8510-4eed-4b73-a29e-678838cd8acd" providerId="ADAL" clId="{0D858F43-B312-4597-9BE0-00D4CFEB0FD6}" dt="2023-07-06T12:45:07.934" v="32"/>
            <ac:spMkLst>
              <pc:docMk/>
              <pc:sldMasterMk cId="606287967" sldId="2147483766"/>
              <pc:sldLayoutMk cId="875516560" sldId="2147483829"/>
              <ac:spMk id="2" creationId="{6302446F-8F07-E88C-5D19-949474205AA4}"/>
            </ac:spMkLst>
          </pc:spChg>
        </pc:sldLayoutChg>
        <pc:sldLayoutChg chg="addSp modSp">
          <pc:chgData name="Hans Gelissen (DHL SSC Maastricht)" userId="1afa8510-4eed-4b73-a29e-678838cd8acd" providerId="ADAL" clId="{0D858F43-B312-4597-9BE0-00D4CFEB0FD6}" dt="2023-07-06T12:45:06.734" v="29"/>
          <pc:sldLayoutMkLst>
            <pc:docMk/>
            <pc:sldMasterMk cId="606287967" sldId="2147483766"/>
            <pc:sldLayoutMk cId="3381309611" sldId="2147483833"/>
          </pc:sldLayoutMkLst>
          <pc:spChg chg="add mod">
            <ac:chgData name="Hans Gelissen (DHL SSC Maastricht)" userId="1afa8510-4eed-4b73-a29e-678838cd8acd" providerId="ADAL" clId="{0D858F43-B312-4597-9BE0-00D4CFEB0FD6}" dt="2023-07-06T12:45:06.734" v="29"/>
            <ac:spMkLst>
              <pc:docMk/>
              <pc:sldMasterMk cId="606287967" sldId="2147483766"/>
              <pc:sldLayoutMk cId="3381309611" sldId="2147483833"/>
              <ac:spMk id="2" creationId="{C6B42B1D-3337-F7E6-00BF-97DAF84AF5A7}"/>
            </ac:spMkLst>
          </pc:spChg>
        </pc:sldLayoutChg>
        <pc:sldLayoutChg chg="addSp modSp">
          <pc:chgData name="Hans Gelissen (DHL SSC Maastricht)" userId="1afa8510-4eed-4b73-a29e-678838cd8acd" providerId="ADAL" clId="{0D858F43-B312-4597-9BE0-00D4CFEB0FD6}" dt="2023-07-06T12:45:08.279" v="33"/>
          <pc:sldLayoutMkLst>
            <pc:docMk/>
            <pc:sldMasterMk cId="606287967" sldId="2147483766"/>
            <pc:sldLayoutMk cId="2109719178" sldId="2147483881"/>
          </pc:sldLayoutMkLst>
          <pc:spChg chg="add mod">
            <ac:chgData name="Hans Gelissen (DHL SSC Maastricht)" userId="1afa8510-4eed-4b73-a29e-678838cd8acd" providerId="ADAL" clId="{0D858F43-B312-4597-9BE0-00D4CFEB0FD6}" dt="2023-07-06T12:45:08.279" v="33"/>
            <ac:spMkLst>
              <pc:docMk/>
              <pc:sldMasterMk cId="606287967" sldId="2147483766"/>
              <pc:sldLayoutMk cId="2109719178" sldId="2147483881"/>
              <ac:spMk id="2" creationId="{B9D5205C-3CE4-D479-BF08-B204C45D71FC}"/>
            </ac:spMkLst>
          </pc:spChg>
        </pc:sldLayoutChg>
        <pc:sldLayoutChg chg="addSp modSp">
          <pc:chgData name="Hans Gelissen (DHL SSC Maastricht)" userId="1afa8510-4eed-4b73-a29e-678838cd8acd" providerId="ADAL" clId="{0D858F43-B312-4597-9BE0-00D4CFEB0FD6}" dt="2023-07-06T12:45:08.661" v="34"/>
          <pc:sldLayoutMkLst>
            <pc:docMk/>
            <pc:sldMasterMk cId="606287967" sldId="2147483766"/>
            <pc:sldLayoutMk cId="2371610937" sldId="2147483882"/>
          </pc:sldLayoutMkLst>
          <pc:spChg chg="add mod">
            <ac:chgData name="Hans Gelissen (DHL SSC Maastricht)" userId="1afa8510-4eed-4b73-a29e-678838cd8acd" providerId="ADAL" clId="{0D858F43-B312-4597-9BE0-00D4CFEB0FD6}" dt="2023-07-06T12:45:08.661" v="34"/>
            <ac:spMkLst>
              <pc:docMk/>
              <pc:sldMasterMk cId="606287967" sldId="2147483766"/>
              <pc:sldLayoutMk cId="2371610937" sldId="2147483882"/>
              <ac:spMk id="2" creationId="{C70CFA3A-92E7-4774-ACFB-A00E8D88AC01}"/>
            </ac:spMkLst>
          </pc:spChg>
        </pc:sldLayoutChg>
        <pc:sldLayoutChg chg="addSp modSp">
          <pc:chgData name="Hans Gelissen (DHL SSC Maastricht)" userId="1afa8510-4eed-4b73-a29e-678838cd8acd" providerId="ADAL" clId="{0D858F43-B312-4597-9BE0-00D4CFEB0FD6}" dt="2023-07-06T12:45:09.206" v="35"/>
          <pc:sldLayoutMkLst>
            <pc:docMk/>
            <pc:sldMasterMk cId="606287967" sldId="2147483766"/>
            <pc:sldLayoutMk cId="1541074054" sldId="2147483883"/>
          </pc:sldLayoutMkLst>
          <pc:spChg chg="add mod">
            <ac:chgData name="Hans Gelissen (DHL SSC Maastricht)" userId="1afa8510-4eed-4b73-a29e-678838cd8acd" providerId="ADAL" clId="{0D858F43-B312-4597-9BE0-00D4CFEB0FD6}" dt="2023-07-06T12:45:09.206" v="35"/>
            <ac:spMkLst>
              <pc:docMk/>
              <pc:sldMasterMk cId="606287967" sldId="2147483766"/>
              <pc:sldLayoutMk cId="1541074054" sldId="2147483883"/>
              <ac:spMk id="2" creationId="{7C272171-EF7A-DBE5-F297-F932F1F01132}"/>
            </ac:spMkLst>
          </pc:spChg>
        </pc:sldLayoutChg>
        <pc:sldLayoutChg chg="addSp modSp">
          <pc:chgData name="Hans Gelissen (DHL SSC Maastricht)" userId="1afa8510-4eed-4b73-a29e-678838cd8acd" providerId="ADAL" clId="{0D858F43-B312-4597-9BE0-00D4CFEB0FD6}" dt="2023-07-06T12:45:09.638" v="36"/>
          <pc:sldLayoutMkLst>
            <pc:docMk/>
            <pc:sldMasterMk cId="606287967" sldId="2147483766"/>
            <pc:sldLayoutMk cId="639221087" sldId="2147483884"/>
          </pc:sldLayoutMkLst>
          <pc:spChg chg="add mod">
            <ac:chgData name="Hans Gelissen (DHL SSC Maastricht)" userId="1afa8510-4eed-4b73-a29e-678838cd8acd" providerId="ADAL" clId="{0D858F43-B312-4597-9BE0-00D4CFEB0FD6}" dt="2023-07-06T12:45:09.638" v="36"/>
            <ac:spMkLst>
              <pc:docMk/>
              <pc:sldMasterMk cId="606287967" sldId="2147483766"/>
              <pc:sldLayoutMk cId="639221087" sldId="2147483884"/>
              <ac:spMk id="2" creationId="{DAA7AEFC-C534-95E5-0A86-41495578B3AC}"/>
            </ac:spMkLst>
          </pc:spChg>
        </pc:sldLayoutChg>
        <pc:sldLayoutChg chg="addSp modSp">
          <pc:chgData name="Hans Gelissen (DHL SSC Maastricht)" userId="1afa8510-4eed-4b73-a29e-678838cd8acd" providerId="ADAL" clId="{0D858F43-B312-4597-9BE0-00D4CFEB0FD6}" dt="2023-07-06T12:45:10.036" v="37"/>
          <pc:sldLayoutMkLst>
            <pc:docMk/>
            <pc:sldMasterMk cId="606287967" sldId="2147483766"/>
            <pc:sldLayoutMk cId="609674377" sldId="2147483929"/>
          </pc:sldLayoutMkLst>
          <pc:spChg chg="add mod">
            <ac:chgData name="Hans Gelissen (DHL SSC Maastricht)" userId="1afa8510-4eed-4b73-a29e-678838cd8acd" providerId="ADAL" clId="{0D858F43-B312-4597-9BE0-00D4CFEB0FD6}" dt="2023-07-06T12:45:10.036" v="37"/>
            <ac:spMkLst>
              <pc:docMk/>
              <pc:sldMasterMk cId="606287967" sldId="2147483766"/>
              <pc:sldLayoutMk cId="609674377" sldId="2147483929"/>
              <ac:spMk id="2" creationId="{6DB54DFF-BC86-DC35-7691-68762FECA69E}"/>
            </ac:spMkLst>
          </pc:spChg>
        </pc:sldLayoutChg>
        <pc:sldLayoutChg chg="addSp modSp">
          <pc:chgData name="Hans Gelissen (DHL SSC Maastricht)" userId="1afa8510-4eed-4b73-a29e-678838cd8acd" providerId="ADAL" clId="{0D858F43-B312-4597-9BE0-00D4CFEB0FD6}" dt="2023-07-06T12:45:10.446" v="38"/>
          <pc:sldLayoutMkLst>
            <pc:docMk/>
            <pc:sldMasterMk cId="606287967" sldId="2147483766"/>
            <pc:sldLayoutMk cId="3078116026" sldId="2147483930"/>
          </pc:sldLayoutMkLst>
          <pc:spChg chg="add mod">
            <ac:chgData name="Hans Gelissen (DHL SSC Maastricht)" userId="1afa8510-4eed-4b73-a29e-678838cd8acd" providerId="ADAL" clId="{0D858F43-B312-4597-9BE0-00D4CFEB0FD6}" dt="2023-07-06T12:45:10.446" v="38"/>
            <ac:spMkLst>
              <pc:docMk/>
              <pc:sldMasterMk cId="606287967" sldId="2147483766"/>
              <pc:sldLayoutMk cId="3078116026" sldId="2147483930"/>
              <ac:spMk id="2" creationId="{69C8F2E8-09A5-B408-DE40-F5C760CA4730}"/>
            </ac:spMkLst>
          </pc:spChg>
        </pc:sldLayoutChg>
        <pc:sldLayoutChg chg="addSp modSp">
          <pc:chgData name="Hans Gelissen (DHL SSC Maastricht)" userId="1afa8510-4eed-4b73-a29e-678838cd8acd" providerId="ADAL" clId="{0D858F43-B312-4597-9BE0-00D4CFEB0FD6}" dt="2023-07-06T12:45:10.887" v="39"/>
          <pc:sldLayoutMkLst>
            <pc:docMk/>
            <pc:sldMasterMk cId="606287967" sldId="2147483766"/>
            <pc:sldLayoutMk cId="3890049931" sldId="2147483931"/>
          </pc:sldLayoutMkLst>
          <pc:spChg chg="add mod">
            <ac:chgData name="Hans Gelissen (DHL SSC Maastricht)" userId="1afa8510-4eed-4b73-a29e-678838cd8acd" providerId="ADAL" clId="{0D858F43-B312-4597-9BE0-00D4CFEB0FD6}" dt="2023-07-06T12:45:10.887" v="39"/>
            <ac:spMkLst>
              <pc:docMk/>
              <pc:sldMasterMk cId="606287967" sldId="2147483766"/>
              <pc:sldLayoutMk cId="3890049931" sldId="2147483931"/>
              <ac:spMk id="2" creationId="{B1D90CE9-3DD8-3693-7AF8-A4F78DCC14E2}"/>
            </ac:spMkLst>
          </pc:spChg>
        </pc:sldLayoutChg>
        <pc:sldLayoutChg chg="addSp modSp">
          <pc:chgData name="Hans Gelissen (DHL SSC Maastricht)" userId="1afa8510-4eed-4b73-a29e-678838cd8acd" providerId="ADAL" clId="{0D858F43-B312-4597-9BE0-00D4CFEB0FD6}" dt="2023-07-06T12:45:11.311" v="40"/>
          <pc:sldLayoutMkLst>
            <pc:docMk/>
            <pc:sldMasterMk cId="606287967" sldId="2147483766"/>
            <pc:sldLayoutMk cId="1138127033" sldId="2147483932"/>
          </pc:sldLayoutMkLst>
          <pc:spChg chg="add mod">
            <ac:chgData name="Hans Gelissen (DHL SSC Maastricht)" userId="1afa8510-4eed-4b73-a29e-678838cd8acd" providerId="ADAL" clId="{0D858F43-B312-4597-9BE0-00D4CFEB0FD6}" dt="2023-07-06T12:45:11.311" v="40"/>
            <ac:spMkLst>
              <pc:docMk/>
              <pc:sldMasterMk cId="606287967" sldId="2147483766"/>
              <pc:sldLayoutMk cId="1138127033" sldId="2147483932"/>
              <ac:spMk id="2" creationId="{03B0897F-0BE1-E8CB-4BA6-0C682E44B78D}"/>
            </ac:spMkLst>
          </pc:spChg>
        </pc:sldLayoutChg>
        <pc:sldLayoutChg chg="addSp modSp">
          <pc:chgData name="Hans Gelissen (DHL SSC Maastricht)" userId="1afa8510-4eed-4b73-a29e-678838cd8acd" providerId="ADAL" clId="{0D858F43-B312-4597-9BE0-00D4CFEB0FD6}" dt="2023-07-06T12:45:12.118" v="41"/>
          <pc:sldLayoutMkLst>
            <pc:docMk/>
            <pc:sldMasterMk cId="606287967" sldId="2147483766"/>
            <pc:sldLayoutMk cId="707791734" sldId="2147483934"/>
          </pc:sldLayoutMkLst>
          <pc:spChg chg="add mod">
            <ac:chgData name="Hans Gelissen (DHL SSC Maastricht)" userId="1afa8510-4eed-4b73-a29e-678838cd8acd" providerId="ADAL" clId="{0D858F43-B312-4597-9BE0-00D4CFEB0FD6}" dt="2023-07-06T12:45:12.118" v="41"/>
            <ac:spMkLst>
              <pc:docMk/>
              <pc:sldMasterMk cId="606287967" sldId="2147483766"/>
              <pc:sldLayoutMk cId="707791734" sldId="2147483934"/>
              <ac:spMk id="2" creationId="{39C4D562-B351-3234-D2A9-B78962A279BF}"/>
            </ac:spMkLst>
          </pc:spChg>
        </pc:sldLayoutChg>
        <pc:sldLayoutChg chg="addSp modSp">
          <pc:chgData name="Hans Gelissen (DHL SSC Maastricht)" userId="1afa8510-4eed-4b73-a29e-678838cd8acd" providerId="ADAL" clId="{0D858F43-B312-4597-9BE0-00D4CFEB0FD6}" dt="2023-07-06T12:45:12.524" v="42"/>
          <pc:sldLayoutMkLst>
            <pc:docMk/>
            <pc:sldMasterMk cId="606287967" sldId="2147483766"/>
            <pc:sldLayoutMk cId="1328022181" sldId="2147483935"/>
          </pc:sldLayoutMkLst>
          <pc:spChg chg="add mod">
            <ac:chgData name="Hans Gelissen (DHL SSC Maastricht)" userId="1afa8510-4eed-4b73-a29e-678838cd8acd" providerId="ADAL" clId="{0D858F43-B312-4597-9BE0-00D4CFEB0FD6}" dt="2023-07-06T12:45:12.524" v="42"/>
            <ac:spMkLst>
              <pc:docMk/>
              <pc:sldMasterMk cId="606287967" sldId="2147483766"/>
              <pc:sldLayoutMk cId="1328022181" sldId="2147483935"/>
              <ac:spMk id="2" creationId="{6D285450-C345-8C8B-3724-8BCCF9F829F9}"/>
            </ac:spMkLst>
          </pc:spChg>
        </pc:sldLayoutChg>
        <pc:sldLayoutChg chg="addSp modSp">
          <pc:chgData name="Hans Gelissen (DHL SSC Maastricht)" userId="1afa8510-4eed-4b73-a29e-678838cd8acd" providerId="ADAL" clId="{0D858F43-B312-4597-9BE0-00D4CFEB0FD6}" dt="2023-07-06T12:45:13.056" v="43"/>
          <pc:sldLayoutMkLst>
            <pc:docMk/>
            <pc:sldMasterMk cId="606287967" sldId="2147483766"/>
            <pc:sldLayoutMk cId="1009040859" sldId="2147483936"/>
          </pc:sldLayoutMkLst>
          <pc:spChg chg="add mod">
            <ac:chgData name="Hans Gelissen (DHL SSC Maastricht)" userId="1afa8510-4eed-4b73-a29e-678838cd8acd" providerId="ADAL" clId="{0D858F43-B312-4597-9BE0-00D4CFEB0FD6}" dt="2023-07-06T12:45:13.056" v="43"/>
            <ac:spMkLst>
              <pc:docMk/>
              <pc:sldMasterMk cId="606287967" sldId="2147483766"/>
              <pc:sldLayoutMk cId="1009040859" sldId="2147483936"/>
              <ac:spMk id="2" creationId="{25F7000C-87CF-EB96-B2C5-5F187B96EE0F}"/>
            </ac:spMkLst>
          </pc:spChg>
        </pc:sldLayoutChg>
      </pc:sldMasterChg>
      <pc:sldMasterChg chg="addSp modSp modSldLayout">
        <pc:chgData name="Hans Gelissen (DHL SSC Maastricht)" userId="1afa8510-4eed-4b73-a29e-678838cd8acd" providerId="ADAL" clId="{0D858F43-B312-4597-9BE0-00D4CFEB0FD6}" dt="2023-07-06T12:45:27.644" v="63"/>
        <pc:sldMasterMkLst>
          <pc:docMk/>
          <pc:sldMasterMk cId="3687066805" sldId="2147483775"/>
        </pc:sldMasterMkLst>
        <pc:spChg chg="add mod">
          <ac:chgData name="Hans Gelissen (DHL SSC Maastricht)" userId="1afa8510-4eed-4b73-a29e-678838cd8acd" providerId="ADAL" clId="{0D858F43-B312-4597-9BE0-00D4CFEB0FD6}" dt="2023-07-06T12:44:15.488" v="12"/>
          <ac:spMkLst>
            <pc:docMk/>
            <pc:sldMasterMk cId="3687066805" sldId="2147483775"/>
            <ac:spMk id="2" creationId="{FD3BC72E-1B99-A50C-372E-330D720AE33E}"/>
          </ac:spMkLst>
        </pc:spChg>
        <pc:sldLayoutChg chg="addSp modSp">
          <pc:chgData name="Hans Gelissen (DHL SSC Maastricht)" userId="1afa8510-4eed-4b73-a29e-678838cd8acd" providerId="ADAL" clId="{0D858F43-B312-4597-9BE0-00D4CFEB0FD6}" dt="2023-07-06T12:45:18.988" v="45"/>
          <pc:sldLayoutMkLst>
            <pc:docMk/>
            <pc:sldMasterMk cId="3687066805" sldId="2147483775"/>
            <pc:sldLayoutMk cId="3786456764" sldId="2147483776"/>
          </pc:sldLayoutMkLst>
          <pc:spChg chg="add mod">
            <ac:chgData name="Hans Gelissen (DHL SSC Maastricht)" userId="1afa8510-4eed-4b73-a29e-678838cd8acd" providerId="ADAL" clId="{0D858F43-B312-4597-9BE0-00D4CFEB0FD6}" dt="2023-07-06T12:45:18.988" v="45"/>
            <ac:spMkLst>
              <pc:docMk/>
              <pc:sldMasterMk cId="3687066805" sldId="2147483775"/>
              <pc:sldLayoutMk cId="3786456764" sldId="2147483776"/>
              <ac:spMk id="3" creationId="{9B573225-A23A-AD7A-B158-305E1AFF75F5}"/>
            </ac:spMkLst>
          </pc:spChg>
        </pc:sldLayoutChg>
        <pc:sldLayoutChg chg="addSp modSp">
          <pc:chgData name="Hans Gelissen (DHL SSC Maastricht)" userId="1afa8510-4eed-4b73-a29e-678838cd8acd" providerId="ADAL" clId="{0D858F43-B312-4597-9BE0-00D4CFEB0FD6}" dt="2023-07-06T12:45:27.644" v="63"/>
          <pc:sldLayoutMkLst>
            <pc:docMk/>
            <pc:sldMasterMk cId="3687066805" sldId="2147483775"/>
            <pc:sldLayoutMk cId="1267003545" sldId="2147483780"/>
          </pc:sldLayoutMkLst>
          <pc:spChg chg="add mod">
            <ac:chgData name="Hans Gelissen (DHL SSC Maastricht)" userId="1afa8510-4eed-4b73-a29e-678838cd8acd" providerId="ADAL" clId="{0D858F43-B312-4597-9BE0-00D4CFEB0FD6}" dt="2023-07-06T12:45:27.644" v="63"/>
            <ac:spMkLst>
              <pc:docMk/>
              <pc:sldMasterMk cId="3687066805" sldId="2147483775"/>
              <pc:sldLayoutMk cId="1267003545" sldId="2147483780"/>
              <ac:spMk id="3" creationId="{A520F4C6-9992-86B6-7DD2-A305D7621826}"/>
            </ac:spMkLst>
          </pc:spChg>
        </pc:sldLayoutChg>
        <pc:sldLayoutChg chg="addSp modSp">
          <pc:chgData name="Hans Gelissen (DHL SSC Maastricht)" userId="1afa8510-4eed-4b73-a29e-678838cd8acd" providerId="ADAL" clId="{0D858F43-B312-4597-9BE0-00D4CFEB0FD6}" dt="2023-07-06T12:45:19.391" v="46"/>
          <pc:sldLayoutMkLst>
            <pc:docMk/>
            <pc:sldMasterMk cId="3687066805" sldId="2147483775"/>
            <pc:sldLayoutMk cId="1204698674" sldId="2147483781"/>
          </pc:sldLayoutMkLst>
          <pc:spChg chg="add mod">
            <ac:chgData name="Hans Gelissen (DHL SSC Maastricht)" userId="1afa8510-4eed-4b73-a29e-678838cd8acd" providerId="ADAL" clId="{0D858F43-B312-4597-9BE0-00D4CFEB0FD6}" dt="2023-07-06T12:45:19.391" v="46"/>
            <ac:spMkLst>
              <pc:docMk/>
              <pc:sldMasterMk cId="3687066805" sldId="2147483775"/>
              <pc:sldLayoutMk cId="1204698674" sldId="2147483781"/>
              <ac:spMk id="3" creationId="{F31179B7-3FFA-82BE-B41A-44E508BDC966}"/>
            </ac:spMkLst>
          </pc:spChg>
        </pc:sldLayoutChg>
        <pc:sldLayoutChg chg="addSp modSp">
          <pc:chgData name="Hans Gelissen (DHL SSC Maastricht)" userId="1afa8510-4eed-4b73-a29e-678838cd8acd" providerId="ADAL" clId="{0D858F43-B312-4597-9BE0-00D4CFEB0FD6}" dt="2023-07-06T12:45:20.148" v="48"/>
          <pc:sldLayoutMkLst>
            <pc:docMk/>
            <pc:sldMasterMk cId="3687066805" sldId="2147483775"/>
            <pc:sldLayoutMk cId="1596137304" sldId="2147483830"/>
          </pc:sldLayoutMkLst>
          <pc:spChg chg="add mod">
            <ac:chgData name="Hans Gelissen (DHL SSC Maastricht)" userId="1afa8510-4eed-4b73-a29e-678838cd8acd" providerId="ADAL" clId="{0D858F43-B312-4597-9BE0-00D4CFEB0FD6}" dt="2023-07-06T12:45:20.148" v="48"/>
            <ac:spMkLst>
              <pc:docMk/>
              <pc:sldMasterMk cId="3687066805" sldId="2147483775"/>
              <pc:sldLayoutMk cId="1596137304" sldId="2147483830"/>
              <ac:spMk id="3" creationId="{897DC2EB-E0D7-FDDF-AE49-FAF76C3BCDC3}"/>
            </ac:spMkLst>
          </pc:spChg>
        </pc:sldLayoutChg>
        <pc:sldLayoutChg chg="addSp modSp">
          <pc:chgData name="Hans Gelissen (DHL SSC Maastricht)" userId="1afa8510-4eed-4b73-a29e-678838cd8acd" providerId="ADAL" clId="{0D858F43-B312-4597-9BE0-00D4CFEB0FD6}" dt="2023-07-06T12:45:20.518" v="49"/>
          <pc:sldLayoutMkLst>
            <pc:docMk/>
            <pc:sldMasterMk cId="3687066805" sldId="2147483775"/>
            <pc:sldLayoutMk cId="2644514963" sldId="2147483831"/>
          </pc:sldLayoutMkLst>
          <pc:spChg chg="add mod">
            <ac:chgData name="Hans Gelissen (DHL SSC Maastricht)" userId="1afa8510-4eed-4b73-a29e-678838cd8acd" providerId="ADAL" clId="{0D858F43-B312-4597-9BE0-00D4CFEB0FD6}" dt="2023-07-06T12:45:20.518" v="49"/>
            <ac:spMkLst>
              <pc:docMk/>
              <pc:sldMasterMk cId="3687066805" sldId="2147483775"/>
              <pc:sldLayoutMk cId="2644514963" sldId="2147483831"/>
              <ac:spMk id="3" creationId="{AA7A9EBF-D3D9-FF45-DA85-146709FAE1E7}"/>
            </ac:spMkLst>
          </pc:spChg>
        </pc:sldLayoutChg>
        <pc:sldLayoutChg chg="addSp modSp">
          <pc:chgData name="Hans Gelissen (DHL SSC Maastricht)" userId="1afa8510-4eed-4b73-a29e-678838cd8acd" providerId="ADAL" clId="{0D858F43-B312-4597-9BE0-00D4CFEB0FD6}" dt="2023-07-06T12:45:20.905" v="50"/>
          <pc:sldLayoutMkLst>
            <pc:docMk/>
            <pc:sldMasterMk cId="3687066805" sldId="2147483775"/>
            <pc:sldLayoutMk cId="4247405665" sldId="2147483832"/>
          </pc:sldLayoutMkLst>
          <pc:spChg chg="add mod">
            <ac:chgData name="Hans Gelissen (DHL SSC Maastricht)" userId="1afa8510-4eed-4b73-a29e-678838cd8acd" providerId="ADAL" clId="{0D858F43-B312-4597-9BE0-00D4CFEB0FD6}" dt="2023-07-06T12:45:20.905" v="50"/>
            <ac:spMkLst>
              <pc:docMk/>
              <pc:sldMasterMk cId="3687066805" sldId="2147483775"/>
              <pc:sldLayoutMk cId="4247405665" sldId="2147483832"/>
              <ac:spMk id="3" creationId="{2AC26BB3-6C32-C2A9-098C-1813077892BE}"/>
            </ac:spMkLst>
          </pc:spChg>
        </pc:sldLayoutChg>
        <pc:sldLayoutChg chg="addSp modSp">
          <pc:chgData name="Hans Gelissen (DHL SSC Maastricht)" userId="1afa8510-4eed-4b73-a29e-678838cd8acd" providerId="ADAL" clId="{0D858F43-B312-4597-9BE0-00D4CFEB0FD6}" dt="2023-07-06T12:45:19.757" v="47"/>
          <pc:sldLayoutMkLst>
            <pc:docMk/>
            <pc:sldMasterMk cId="3687066805" sldId="2147483775"/>
            <pc:sldLayoutMk cId="662326433" sldId="2147483839"/>
          </pc:sldLayoutMkLst>
          <pc:spChg chg="add mod">
            <ac:chgData name="Hans Gelissen (DHL SSC Maastricht)" userId="1afa8510-4eed-4b73-a29e-678838cd8acd" providerId="ADAL" clId="{0D858F43-B312-4597-9BE0-00D4CFEB0FD6}" dt="2023-07-06T12:45:19.757" v="47"/>
            <ac:spMkLst>
              <pc:docMk/>
              <pc:sldMasterMk cId="3687066805" sldId="2147483775"/>
              <pc:sldLayoutMk cId="662326433" sldId="2147483839"/>
              <ac:spMk id="3" creationId="{757E79F0-C96C-F03C-3900-2DEC44AB1725}"/>
            </ac:spMkLst>
          </pc:spChg>
        </pc:sldLayoutChg>
        <pc:sldLayoutChg chg="addSp modSp">
          <pc:chgData name="Hans Gelissen (DHL SSC Maastricht)" userId="1afa8510-4eed-4b73-a29e-678838cd8acd" providerId="ADAL" clId="{0D858F43-B312-4597-9BE0-00D4CFEB0FD6}" dt="2023-07-06T12:45:21.669" v="52"/>
          <pc:sldLayoutMkLst>
            <pc:docMk/>
            <pc:sldMasterMk cId="3687066805" sldId="2147483775"/>
            <pc:sldLayoutMk cId="1732030272" sldId="2147483886"/>
          </pc:sldLayoutMkLst>
          <pc:spChg chg="add mod">
            <ac:chgData name="Hans Gelissen (DHL SSC Maastricht)" userId="1afa8510-4eed-4b73-a29e-678838cd8acd" providerId="ADAL" clId="{0D858F43-B312-4597-9BE0-00D4CFEB0FD6}" dt="2023-07-06T12:45:21.669" v="52"/>
            <ac:spMkLst>
              <pc:docMk/>
              <pc:sldMasterMk cId="3687066805" sldId="2147483775"/>
              <pc:sldLayoutMk cId="1732030272" sldId="2147483886"/>
              <ac:spMk id="3" creationId="{1E2253A6-A64E-4163-4778-73FCE398AAE9}"/>
            </ac:spMkLst>
          </pc:spChg>
        </pc:sldLayoutChg>
        <pc:sldLayoutChg chg="addSp modSp">
          <pc:chgData name="Hans Gelissen (DHL SSC Maastricht)" userId="1afa8510-4eed-4b73-a29e-678838cd8acd" providerId="ADAL" clId="{0D858F43-B312-4597-9BE0-00D4CFEB0FD6}" dt="2023-07-06T12:45:22.042" v="53"/>
          <pc:sldLayoutMkLst>
            <pc:docMk/>
            <pc:sldMasterMk cId="3687066805" sldId="2147483775"/>
            <pc:sldLayoutMk cId="1485632788" sldId="2147483887"/>
          </pc:sldLayoutMkLst>
          <pc:spChg chg="add mod">
            <ac:chgData name="Hans Gelissen (DHL SSC Maastricht)" userId="1afa8510-4eed-4b73-a29e-678838cd8acd" providerId="ADAL" clId="{0D858F43-B312-4597-9BE0-00D4CFEB0FD6}" dt="2023-07-06T12:45:22.042" v="53"/>
            <ac:spMkLst>
              <pc:docMk/>
              <pc:sldMasterMk cId="3687066805" sldId="2147483775"/>
              <pc:sldLayoutMk cId="1485632788" sldId="2147483887"/>
              <ac:spMk id="3" creationId="{823BCAA9-508B-EA39-1ABB-8E45DD37448F}"/>
            </ac:spMkLst>
          </pc:spChg>
        </pc:sldLayoutChg>
        <pc:sldLayoutChg chg="addSp modSp">
          <pc:chgData name="Hans Gelissen (DHL SSC Maastricht)" userId="1afa8510-4eed-4b73-a29e-678838cd8acd" providerId="ADAL" clId="{0D858F43-B312-4597-9BE0-00D4CFEB0FD6}" dt="2023-07-06T12:45:22.399" v="54"/>
          <pc:sldLayoutMkLst>
            <pc:docMk/>
            <pc:sldMasterMk cId="3687066805" sldId="2147483775"/>
            <pc:sldLayoutMk cId="221168642" sldId="2147483888"/>
          </pc:sldLayoutMkLst>
          <pc:spChg chg="add mod">
            <ac:chgData name="Hans Gelissen (DHL SSC Maastricht)" userId="1afa8510-4eed-4b73-a29e-678838cd8acd" providerId="ADAL" clId="{0D858F43-B312-4597-9BE0-00D4CFEB0FD6}" dt="2023-07-06T12:45:22.399" v="54"/>
            <ac:spMkLst>
              <pc:docMk/>
              <pc:sldMasterMk cId="3687066805" sldId="2147483775"/>
              <pc:sldLayoutMk cId="221168642" sldId="2147483888"/>
              <ac:spMk id="3" creationId="{D302E134-1D79-F774-B033-E2BCA81898F4}"/>
            </ac:spMkLst>
          </pc:spChg>
        </pc:sldLayoutChg>
        <pc:sldLayoutChg chg="addSp modSp">
          <pc:chgData name="Hans Gelissen (DHL SSC Maastricht)" userId="1afa8510-4eed-4b73-a29e-678838cd8acd" providerId="ADAL" clId="{0D858F43-B312-4597-9BE0-00D4CFEB0FD6}" dt="2023-07-06T12:45:21.285" v="51"/>
          <pc:sldLayoutMkLst>
            <pc:docMk/>
            <pc:sldMasterMk cId="3687066805" sldId="2147483775"/>
            <pc:sldLayoutMk cId="2337798684" sldId="2147483889"/>
          </pc:sldLayoutMkLst>
          <pc:spChg chg="add mod">
            <ac:chgData name="Hans Gelissen (DHL SSC Maastricht)" userId="1afa8510-4eed-4b73-a29e-678838cd8acd" providerId="ADAL" clId="{0D858F43-B312-4597-9BE0-00D4CFEB0FD6}" dt="2023-07-06T12:45:21.285" v="51"/>
            <ac:spMkLst>
              <pc:docMk/>
              <pc:sldMasterMk cId="3687066805" sldId="2147483775"/>
              <pc:sldLayoutMk cId="2337798684" sldId="2147483889"/>
              <ac:spMk id="3" creationId="{48A70C68-9162-9722-84D8-7D0D8DC13F96}"/>
            </ac:spMkLst>
          </pc:spChg>
        </pc:sldLayoutChg>
        <pc:sldLayoutChg chg="addSp modSp">
          <pc:chgData name="Hans Gelissen (DHL SSC Maastricht)" userId="1afa8510-4eed-4b73-a29e-678838cd8acd" providerId="ADAL" clId="{0D858F43-B312-4597-9BE0-00D4CFEB0FD6}" dt="2023-07-06T12:45:22.785" v="55"/>
          <pc:sldLayoutMkLst>
            <pc:docMk/>
            <pc:sldMasterMk cId="3687066805" sldId="2147483775"/>
            <pc:sldLayoutMk cId="2848435218" sldId="2147483947"/>
          </pc:sldLayoutMkLst>
          <pc:spChg chg="add mod">
            <ac:chgData name="Hans Gelissen (DHL SSC Maastricht)" userId="1afa8510-4eed-4b73-a29e-678838cd8acd" providerId="ADAL" clId="{0D858F43-B312-4597-9BE0-00D4CFEB0FD6}" dt="2023-07-06T12:45:22.785" v="55"/>
            <ac:spMkLst>
              <pc:docMk/>
              <pc:sldMasterMk cId="3687066805" sldId="2147483775"/>
              <pc:sldLayoutMk cId="2848435218" sldId="2147483947"/>
              <ac:spMk id="3" creationId="{B26F75E6-864C-957E-FAC3-26F0AB32F668}"/>
            </ac:spMkLst>
          </pc:spChg>
        </pc:sldLayoutChg>
        <pc:sldLayoutChg chg="addSp modSp">
          <pc:chgData name="Hans Gelissen (DHL SSC Maastricht)" userId="1afa8510-4eed-4b73-a29e-678838cd8acd" providerId="ADAL" clId="{0D858F43-B312-4597-9BE0-00D4CFEB0FD6}" dt="2023-07-06T12:45:23.169" v="56"/>
          <pc:sldLayoutMkLst>
            <pc:docMk/>
            <pc:sldMasterMk cId="3687066805" sldId="2147483775"/>
            <pc:sldLayoutMk cId="4171373829" sldId="2147483948"/>
          </pc:sldLayoutMkLst>
          <pc:spChg chg="add mod">
            <ac:chgData name="Hans Gelissen (DHL SSC Maastricht)" userId="1afa8510-4eed-4b73-a29e-678838cd8acd" providerId="ADAL" clId="{0D858F43-B312-4597-9BE0-00D4CFEB0FD6}" dt="2023-07-06T12:45:23.169" v="56"/>
            <ac:spMkLst>
              <pc:docMk/>
              <pc:sldMasterMk cId="3687066805" sldId="2147483775"/>
              <pc:sldLayoutMk cId="4171373829" sldId="2147483948"/>
              <ac:spMk id="3" creationId="{B31D8219-12C7-7081-065D-BAB28C5AD722}"/>
            </ac:spMkLst>
          </pc:spChg>
        </pc:sldLayoutChg>
        <pc:sldLayoutChg chg="addSp modSp">
          <pc:chgData name="Hans Gelissen (DHL SSC Maastricht)" userId="1afa8510-4eed-4b73-a29e-678838cd8acd" providerId="ADAL" clId="{0D858F43-B312-4597-9BE0-00D4CFEB0FD6}" dt="2023-07-06T12:45:23.604" v="57"/>
          <pc:sldLayoutMkLst>
            <pc:docMk/>
            <pc:sldMasterMk cId="3687066805" sldId="2147483775"/>
            <pc:sldLayoutMk cId="705876065" sldId="2147483949"/>
          </pc:sldLayoutMkLst>
          <pc:spChg chg="add mod">
            <ac:chgData name="Hans Gelissen (DHL SSC Maastricht)" userId="1afa8510-4eed-4b73-a29e-678838cd8acd" providerId="ADAL" clId="{0D858F43-B312-4597-9BE0-00D4CFEB0FD6}" dt="2023-07-06T12:45:23.604" v="57"/>
            <ac:spMkLst>
              <pc:docMk/>
              <pc:sldMasterMk cId="3687066805" sldId="2147483775"/>
              <pc:sldLayoutMk cId="705876065" sldId="2147483949"/>
              <ac:spMk id="3" creationId="{2DFF05BE-8411-38D9-53BA-23B08AD1B931}"/>
            </ac:spMkLst>
          </pc:spChg>
        </pc:sldLayoutChg>
        <pc:sldLayoutChg chg="addSp modSp">
          <pc:chgData name="Hans Gelissen (DHL SSC Maastricht)" userId="1afa8510-4eed-4b73-a29e-678838cd8acd" providerId="ADAL" clId="{0D858F43-B312-4597-9BE0-00D4CFEB0FD6}" dt="2023-07-06T12:45:24.050" v="58"/>
          <pc:sldLayoutMkLst>
            <pc:docMk/>
            <pc:sldMasterMk cId="3687066805" sldId="2147483775"/>
            <pc:sldLayoutMk cId="3404922169" sldId="2147483950"/>
          </pc:sldLayoutMkLst>
          <pc:spChg chg="add mod">
            <ac:chgData name="Hans Gelissen (DHL SSC Maastricht)" userId="1afa8510-4eed-4b73-a29e-678838cd8acd" providerId="ADAL" clId="{0D858F43-B312-4597-9BE0-00D4CFEB0FD6}" dt="2023-07-06T12:45:24.050" v="58"/>
            <ac:spMkLst>
              <pc:docMk/>
              <pc:sldMasterMk cId="3687066805" sldId="2147483775"/>
              <pc:sldLayoutMk cId="3404922169" sldId="2147483950"/>
              <ac:spMk id="3" creationId="{F7CB2B7A-11F6-CADB-71A5-912E7D8765A7}"/>
            </ac:spMkLst>
          </pc:spChg>
        </pc:sldLayoutChg>
        <pc:sldLayoutChg chg="addSp modSp">
          <pc:chgData name="Hans Gelissen (DHL SSC Maastricht)" userId="1afa8510-4eed-4b73-a29e-678838cd8acd" providerId="ADAL" clId="{0D858F43-B312-4597-9BE0-00D4CFEB0FD6}" dt="2023-07-06T12:45:24.551" v="59"/>
          <pc:sldLayoutMkLst>
            <pc:docMk/>
            <pc:sldMasterMk cId="3687066805" sldId="2147483775"/>
            <pc:sldLayoutMk cId="4065184156" sldId="2147483951"/>
          </pc:sldLayoutMkLst>
          <pc:spChg chg="add mod">
            <ac:chgData name="Hans Gelissen (DHL SSC Maastricht)" userId="1afa8510-4eed-4b73-a29e-678838cd8acd" providerId="ADAL" clId="{0D858F43-B312-4597-9BE0-00D4CFEB0FD6}" dt="2023-07-06T12:45:24.551" v="59"/>
            <ac:spMkLst>
              <pc:docMk/>
              <pc:sldMasterMk cId="3687066805" sldId="2147483775"/>
              <pc:sldLayoutMk cId="4065184156" sldId="2147483951"/>
              <ac:spMk id="3" creationId="{C0DD9EC5-7233-B80F-346E-3ED393A9B1C8}"/>
            </ac:spMkLst>
          </pc:spChg>
        </pc:sldLayoutChg>
        <pc:sldLayoutChg chg="addSp modSp">
          <pc:chgData name="Hans Gelissen (DHL SSC Maastricht)" userId="1afa8510-4eed-4b73-a29e-678838cd8acd" providerId="ADAL" clId="{0D858F43-B312-4597-9BE0-00D4CFEB0FD6}" dt="2023-07-06T12:45:25.992" v="60"/>
          <pc:sldLayoutMkLst>
            <pc:docMk/>
            <pc:sldMasterMk cId="3687066805" sldId="2147483775"/>
            <pc:sldLayoutMk cId="3431884773" sldId="2147483952"/>
          </pc:sldLayoutMkLst>
          <pc:spChg chg="add mod">
            <ac:chgData name="Hans Gelissen (DHL SSC Maastricht)" userId="1afa8510-4eed-4b73-a29e-678838cd8acd" providerId="ADAL" clId="{0D858F43-B312-4597-9BE0-00D4CFEB0FD6}" dt="2023-07-06T12:45:25.992" v="60"/>
            <ac:spMkLst>
              <pc:docMk/>
              <pc:sldMasterMk cId="3687066805" sldId="2147483775"/>
              <pc:sldLayoutMk cId="3431884773" sldId="2147483952"/>
              <ac:spMk id="3" creationId="{755D3704-4DEB-3B87-B511-D9EFDB5EAA9C}"/>
            </ac:spMkLst>
          </pc:spChg>
        </pc:sldLayoutChg>
        <pc:sldLayoutChg chg="addSp modSp">
          <pc:chgData name="Hans Gelissen (DHL SSC Maastricht)" userId="1afa8510-4eed-4b73-a29e-678838cd8acd" providerId="ADAL" clId="{0D858F43-B312-4597-9BE0-00D4CFEB0FD6}" dt="2023-07-06T12:45:26.782" v="61"/>
          <pc:sldLayoutMkLst>
            <pc:docMk/>
            <pc:sldMasterMk cId="3687066805" sldId="2147483775"/>
            <pc:sldLayoutMk cId="3793421954" sldId="2147483953"/>
          </pc:sldLayoutMkLst>
          <pc:spChg chg="add mod">
            <ac:chgData name="Hans Gelissen (DHL SSC Maastricht)" userId="1afa8510-4eed-4b73-a29e-678838cd8acd" providerId="ADAL" clId="{0D858F43-B312-4597-9BE0-00D4CFEB0FD6}" dt="2023-07-06T12:45:26.782" v="61"/>
            <ac:spMkLst>
              <pc:docMk/>
              <pc:sldMasterMk cId="3687066805" sldId="2147483775"/>
              <pc:sldLayoutMk cId="3793421954" sldId="2147483953"/>
              <ac:spMk id="3" creationId="{DDA463EB-8B0A-42E4-7C0C-078530A65488}"/>
            </ac:spMkLst>
          </pc:spChg>
        </pc:sldLayoutChg>
        <pc:sldLayoutChg chg="addSp modSp">
          <pc:chgData name="Hans Gelissen (DHL SSC Maastricht)" userId="1afa8510-4eed-4b73-a29e-678838cd8acd" providerId="ADAL" clId="{0D858F43-B312-4597-9BE0-00D4CFEB0FD6}" dt="2023-07-06T12:45:27.206" v="62"/>
          <pc:sldLayoutMkLst>
            <pc:docMk/>
            <pc:sldMasterMk cId="3687066805" sldId="2147483775"/>
            <pc:sldLayoutMk cId="3818604797" sldId="2147483954"/>
          </pc:sldLayoutMkLst>
          <pc:spChg chg="add mod">
            <ac:chgData name="Hans Gelissen (DHL SSC Maastricht)" userId="1afa8510-4eed-4b73-a29e-678838cd8acd" providerId="ADAL" clId="{0D858F43-B312-4597-9BE0-00D4CFEB0FD6}" dt="2023-07-06T12:45:27.206" v="62"/>
            <ac:spMkLst>
              <pc:docMk/>
              <pc:sldMasterMk cId="3687066805" sldId="2147483775"/>
              <pc:sldLayoutMk cId="3818604797" sldId="2147483954"/>
              <ac:spMk id="3" creationId="{7334E917-E0D1-A947-27FB-138D986103C8}"/>
            </ac:spMkLst>
          </pc:spChg>
        </pc:sldLayoutChg>
      </pc:sldMasterChg>
      <pc:sldMasterChg chg="addSp delSp modSp mod">
        <pc:chgData name="Hans Gelissen (DHL SSC Maastricht)" userId="1afa8510-4eed-4b73-a29e-678838cd8acd" providerId="ADAL" clId="{0D858F43-B312-4597-9BE0-00D4CFEB0FD6}" dt="2023-07-06T12:44:49.495" v="21" actId="478"/>
        <pc:sldMasterMkLst>
          <pc:docMk/>
          <pc:sldMasterMk cId="2791372136" sldId="2147483777"/>
        </pc:sldMasterMkLst>
        <pc:spChg chg="add del mod">
          <ac:chgData name="Hans Gelissen (DHL SSC Maastricht)" userId="1afa8510-4eed-4b73-a29e-678838cd8acd" providerId="ADAL" clId="{0D858F43-B312-4597-9BE0-00D4CFEB0FD6}" dt="2023-07-06T12:44:49.495" v="21" actId="478"/>
          <ac:spMkLst>
            <pc:docMk/>
            <pc:sldMasterMk cId="2791372136" sldId="2147483777"/>
            <ac:spMk id="2" creationId="{F33555E2-C488-6551-C087-E1016646E651}"/>
          </ac:spMkLst>
        </pc:spChg>
      </pc:sldMasterChg>
      <pc:sldMasterChg chg="addSp modSp modSldLayout">
        <pc:chgData name="Hans Gelissen (DHL SSC Maastricht)" userId="1afa8510-4eed-4b73-a29e-678838cd8acd" providerId="ADAL" clId="{0D858F43-B312-4597-9BE0-00D4CFEB0FD6}" dt="2023-07-06T12:45:36.992" v="83"/>
        <pc:sldMasterMkLst>
          <pc:docMk/>
          <pc:sldMasterMk cId="3009645139" sldId="2147483782"/>
        </pc:sldMasterMkLst>
        <pc:spChg chg="add mod">
          <ac:chgData name="Hans Gelissen (DHL SSC Maastricht)" userId="1afa8510-4eed-4b73-a29e-678838cd8acd" providerId="ADAL" clId="{0D858F43-B312-4597-9BE0-00D4CFEB0FD6}" dt="2023-07-06T12:44:20.494" v="13"/>
          <ac:spMkLst>
            <pc:docMk/>
            <pc:sldMasterMk cId="3009645139" sldId="2147483782"/>
            <ac:spMk id="2" creationId="{DE007F2E-9EBF-DAF3-6E46-19393D6C6E93}"/>
          </ac:spMkLst>
        </pc:spChg>
        <pc:sldLayoutChg chg="addSp modSp">
          <pc:chgData name="Hans Gelissen (DHL SSC Maastricht)" userId="1afa8510-4eed-4b73-a29e-678838cd8acd" providerId="ADAL" clId="{0D858F43-B312-4597-9BE0-00D4CFEB0FD6}" dt="2023-07-06T12:45:29.274" v="64"/>
          <pc:sldLayoutMkLst>
            <pc:docMk/>
            <pc:sldMasterMk cId="3009645139" sldId="2147483782"/>
            <pc:sldLayoutMk cId="2048209168" sldId="2147483746"/>
          </pc:sldLayoutMkLst>
          <pc:spChg chg="add mod">
            <ac:chgData name="Hans Gelissen (DHL SSC Maastricht)" userId="1afa8510-4eed-4b73-a29e-678838cd8acd" providerId="ADAL" clId="{0D858F43-B312-4597-9BE0-00D4CFEB0FD6}" dt="2023-07-06T12:45:29.274" v="64"/>
            <ac:spMkLst>
              <pc:docMk/>
              <pc:sldMasterMk cId="3009645139" sldId="2147483782"/>
              <pc:sldLayoutMk cId="2048209168" sldId="2147483746"/>
              <ac:spMk id="3" creationId="{B15AAE5C-F217-FB2D-A512-DE36C96C9761}"/>
            </ac:spMkLst>
          </pc:spChg>
        </pc:sldLayoutChg>
        <pc:sldLayoutChg chg="addSp modSp">
          <pc:chgData name="Hans Gelissen (DHL SSC Maastricht)" userId="1afa8510-4eed-4b73-a29e-678838cd8acd" providerId="ADAL" clId="{0D858F43-B312-4597-9BE0-00D4CFEB0FD6}" dt="2023-07-06T12:45:31.794" v="70"/>
          <pc:sldLayoutMkLst>
            <pc:docMk/>
            <pc:sldMasterMk cId="3009645139" sldId="2147483782"/>
            <pc:sldLayoutMk cId="648980338" sldId="2147483802"/>
          </pc:sldLayoutMkLst>
          <pc:spChg chg="add mod">
            <ac:chgData name="Hans Gelissen (DHL SSC Maastricht)" userId="1afa8510-4eed-4b73-a29e-678838cd8acd" providerId="ADAL" clId="{0D858F43-B312-4597-9BE0-00D4CFEB0FD6}" dt="2023-07-06T12:45:31.794" v="70"/>
            <ac:spMkLst>
              <pc:docMk/>
              <pc:sldMasterMk cId="3009645139" sldId="2147483782"/>
              <pc:sldLayoutMk cId="648980338" sldId="2147483802"/>
              <ac:spMk id="3" creationId="{E5BC9B14-8C6A-ED00-E12E-B216D5430BB5}"/>
            </ac:spMkLst>
          </pc:spChg>
        </pc:sldLayoutChg>
        <pc:sldLayoutChg chg="addSp modSp">
          <pc:chgData name="Hans Gelissen (DHL SSC Maastricht)" userId="1afa8510-4eed-4b73-a29e-678838cd8acd" providerId="ADAL" clId="{0D858F43-B312-4597-9BE0-00D4CFEB0FD6}" dt="2023-07-06T12:45:31.379" v="69"/>
          <pc:sldLayoutMkLst>
            <pc:docMk/>
            <pc:sldMasterMk cId="3009645139" sldId="2147483782"/>
            <pc:sldLayoutMk cId="2005618548" sldId="2147483803"/>
          </pc:sldLayoutMkLst>
          <pc:spChg chg="add mod">
            <ac:chgData name="Hans Gelissen (DHL SSC Maastricht)" userId="1afa8510-4eed-4b73-a29e-678838cd8acd" providerId="ADAL" clId="{0D858F43-B312-4597-9BE0-00D4CFEB0FD6}" dt="2023-07-06T12:45:31.379" v="69"/>
            <ac:spMkLst>
              <pc:docMk/>
              <pc:sldMasterMk cId="3009645139" sldId="2147483782"/>
              <pc:sldLayoutMk cId="2005618548" sldId="2147483803"/>
              <ac:spMk id="3" creationId="{A39F3FC1-80E6-4912-1445-B8E58712D8CC}"/>
            </ac:spMkLst>
          </pc:spChg>
        </pc:sldLayoutChg>
        <pc:sldLayoutChg chg="addSp modSp">
          <pc:chgData name="Hans Gelissen (DHL SSC Maastricht)" userId="1afa8510-4eed-4b73-a29e-678838cd8acd" providerId="ADAL" clId="{0D858F43-B312-4597-9BE0-00D4CFEB0FD6}" dt="2023-07-06T12:45:36.992" v="83"/>
          <pc:sldLayoutMkLst>
            <pc:docMk/>
            <pc:sldMasterMk cId="3009645139" sldId="2147483782"/>
            <pc:sldLayoutMk cId="2141143529" sldId="2147483804"/>
          </pc:sldLayoutMkLst>
          <pc:spChg chg="add mod">
            <ac:chgData name="Hans Gelissen (DHL SSC Maastricht)" userId="1afa8510-4eed-4b73-a29e-678838cd8acd" providerId="ADAL" clId="{0D858F43-B312-4597-9BE0-00D4CFEB0FD6}" dt="2023-07-06T12:45:36.992" v="83"/>
            <ac:spMkLst>
              <pc:docMk/>
              <pc:sldMasterMk cId="3009645139" sldId="2147483782"/>
              <pc:sldLayoutMk cId="2141143529" sldId="2147483804"/>
              <ac:spMk id="3" creationId="{248DA8D9-EA9D-6E28-F7B1-167DD478E248}"/>
            </ac:spMkLst>
          </pc:spChg>
        </pc:sldLayoutChg>
        <pc:sldLayoutChg chg="addSp modSp">
          <pc:chgData name="Hans Gelissen (DHL SSC Maastricht)" userId="1afa8510-4eed-4b73-a29e-678838cd8acd" providerId="ADAL" clId="{0D858F43-B312-4597-9BE0-00D4CFEB0FD6}" dt="2023-07-06T12:45:30.547" v="67"/>
          <pc:sldLayoutMkLst>
            <pc:docMk/>
            <pc:sldMasterMk cId="3009645139" sldId="2147483782"/>
            <pc:sldLayoutMk cId="2696944745" sldId="2147483840"/>
          </pc:sldLayoutMkLst>
          <pc:spChg chg="add mod">
            <ac:chgData name="Hans Gelissen (DHL SSC Maastricht)" userId="1afa8510-4eed-4b73-a29e-678838cd8acd" providerId="ADAL" clId="{0D858F43-B312-4597-9BE0-00D4CFEB0FD6}" dt="2023-07-06T12:45:30.547" v="67"/>
            <ac:spMkLst>
              <pc:docMk/>
              <pc:sldMasterMk cId="3009645139" sldId="2147483782"/>
              <pc:sldLayoutMk cId="2696944745" sldId="2147483840"/>
              <ac:spMk id="3" creationId="{89CC6126-40A6-4CF8-26E0-F0477D33D49E}"/>
            </ac:spMkLst>
          </pc:spChg>
        </pc:sldLayoutChg>
        <pc:sldLayoutChg chg="addSp modSp">
          <pc:chgData name="Hans Gelissen (DHL SSC Maastricht)" userId="1afa8510-4eed-4b73-a29e-678838cd8acd" providerId="ADAL" clId="{0D858F43-B312-4597-9BE0-00D4CFEB0FD6}" dt="2023-07-06T12:45:29.719" v="65"/>
          <pc:sldLayoutMkLst>
            <pc:docMk/>
            <pc:sldMasterMk cId="3009645139" sldId="2147483782"/>
            <pc:sldLayoutMk cId="4274500592" sldId="2147483841"/>
          </pc:sldLayoutMkLst>
          <pc:spChg chg="add mod">
            <ac:chgData name="Hans Gelissen (DHL SSC Maastricht)" userId="1afa8510-4eed-4b73-a29e-678838cd8acd" providerId="ADAL" clId="{0D858F43-B312-4597-9BE0-00D4CFEB0FD6}" dt="2023-07-06T12:45:29.719" v="65"/>
            <ac:spMkLst>
              <pc:docMk/>
              <pc:sldMasterMk cId="3009645139" sldId="2147483782"/>
              <pc:sldLayoutMk cId="4274500592" sldId="2147483841"/>
              <ac:spMk id="3" creationId="{70BF2EB3-91B8-C6F3-22B2-6210172DD976}"/>
            </ac:spMkLst>
          </pc:spChg>
        </pc:sldLayoutChg>
        <pc:sldLayoutChg chg="addSp modSp">
          <pc:chgData name="Hans Gelissen (DHL SSC Maastricht)" userId="1afa8510-4eed-4b73-a29e-678838cd8acd" providerId="ADAL" clId="{0D858F43-B312-4597-9BE0-00D4CFEB0FD6}" dt="2023-07-06T12:45:30.167" v="66"/>
          <pc:sldLayoutMkLst>
            <pc:docMk/>
            <pc:sldMasterMk cId="3009645139" sldId="2147483782"/>
            <pc:sldLayoutMk cId="695310547" sldId="2147483842"/>
          </pc:sldLayoutMkLst>
          <pc:spChg chg="add mod">
            <ac:chgData name="Hans Gelissen (DHL SSC Maastricht)" userId="1afa8510-4eed-4b73-a29e-678838cd8acd" providerId="ADAL" clId="{0D858F43-B312-4597-9BE0-00D4CFEB0FD6}" dt="2023-07-06T12:45:30.167" v="66"/>
            <ac:spMkLst>
              <pc:docMk/>
              <pc:sldMasterMk cId="3009645139" sldId="2147483782"/>
              <pc:sldLayoutMk cId="695310547" sldId="2147483842"/>
              <ac:spMk id="3" creationId="{20EFF207-DD5D-3118-DBE8-A4D495F1F06C}"/>
            </ac:spMkLst>
          </pc:spChg>
        </pc:sldLayoutChg>
        <pc:sldLayoutChg chg="addSp modSp">
          <pc:chgData name="Hans Gelissen (DHL SSC Maastricht)" userId="1afa8510-4eed-4b73-a29e-678838cd8acd" providerId="ADAL" clId="{0D858F43-B312-4597-9BE0-00D4CFEB0FD6}" dt="2023-07-06T12:45:30.980" v="68"/>
          <pc:sldLayoutMkLst>
            <pc:docMk/>
            <pc:sldMasterMk cId="3009645139" sldId="2147483782"/>
            <pc:sldLayoutMk cId="604909523" sldId="2147483843"/>
          </pc:sldLayoutMkLst>
          <pc:spChg chg="add mod">
            <ac:chgData name="Hans Gelissen (DHL SSC Maastricht)" userId="1afa8510-4eed-4b73-a29e-678838cd8acd" providerId="ADAL" clId="{0D858F43-B312-4597-9BE0-00D4CFEB0FD6}" dt="2023-07-06T12:45:30.980" v="68"/>
            <ac:spMkLst>
              <pc:docMk/>
              <pc:sldMasterMk cId="3009645139" sldId="2147483782"/>
              <pc:sldLayoutMk cId="604909523" sldId="2147483843"/>
              <ac:spMk id="3" creationId="{6FB64F28-47D8-E7FB-222A-4BACE3EDBF3E}"/>
            </ac:spMkLst>
          </pc:spChg>
        </pc:sldLayoutChg>
        <pc:sldLayoutChg chg="addSp modSp">
          <pc:chgData name="Hans Gelissen (DHL SSC Maastricht)" userId="1afa8510-4eed-4b73-a29e-678838cd8acd" providerId="ADAL" clId="{0D858F43-B312-4597-9BE0-00D4CFEB0FD6}" dt="2023-07-06T12:45:32.197" v="71"/>
          <pc:sldLayoutMkLst>
            <pc:docMk/>
            <pc:sldMasterMk cId="3009645139" sldId="2147483782"/>
            <pc:sldLayoutMk cId="1433277352" sldId="2147483895"/>
          </pc:sldLayoutMkLst>
          <pc:spChg chg="add mod">
            <ac:chgData name="Hans Gelissen (DHL SSC Maastricht)" userId="1afa8510-4eed-4b73-a29e-678838cd8acd" providerId="ADAL" clId="{0D858F43-B312-4597-9BE0-00D4CFEB0FD6}" dt="2023-07-06T12:45:32.197" v="71"/>
            <ac:spMkLst>
              <pc:docMk/>
              <pc:sldMasterMk cId="3009645139" sldId="2147483782"/>
              <pc:sldLayoutMk cId="1433277352" sldId="2147483895"/>
              <ac:spMk id="3" creationId="{AA8E6575-C958-1D5C-3FD2-95BDA0203BD8}"/>
            </ac:spMkLst>
          </pc:spChg>
        </pc:sldLayoutChg>
        <pc:sldLayoutChg chg="addSp modSp">
          <pc:chgData name="Hans Gelissen (DHL SSC Maastricht)" userId="1afa8510-4eed-4b73-a29e-678838cd8acd" providerId="ADAL" clId="{0D858F43-B312-4597-9BE0-00D4CFEB0FD6}" dt="2023-07-06T12:45:32.626" v="72"/>
          <pc:sldLayoutMkLst>
            <pc:docMk/>
            <pc:sldMasterMk cId="3009645139" sldId="2147483782"/>
            <pc:sldLayoutMk cId="2068679615" sldId="2147483896"/>
          </pc:sldLayoutMkLst>
          <pc:spChg chg="add mod">
            <ac:chgData name="Hans Gelissen (DHL SSC Maastricht)" userId="1afa8510-4eed-4b73-a29e-678838cd8acd" providerId="ADAL" clId="{0D858F43-B312-4597-9BE0-00D4CFEB0FD6}" dt="2023-07-06T12:45:32.626" v="72"/>
            <ac:spMkLst>
              <pc:docMk/>
              <pc:sldMasterMk cId="3009645139" sldId="2147483782"/>
              <pc:sldLayoutMk cId="2068679615" sldId="2147483896"/>
              <ac:spMk id="3" creationId="{F3BF8BBA-2980-2654-09C8-5566398C92FC}"/>
            </ac:spMkLst>
          </pc:spChg>
        </pc:sldLayoutChg>
        <pc:sldLayoutChg chg="addSp modSp">
          <pc:chgData name="Hans Gelissen (DHL SSC Maastricht)" userId="1afa8510-4eed-4b73-a29e-678838cd8acd" providerId="ADAL" clId="{0D858F43-B312-4597-9BE0-00D4CFEB0FD6}" dt="2023-07-06T12:45:32.996" v="73"/>
          <pc:sldLayoutMkLst>
            <pc:docMk/>
            <pc:sldMasterMk cId="3009645139" sldId="2147483782"/>
            <pc:sldLayoutMk cId="3666955133" sldId="2147483897"/>
          </pc:sldLayoutMkLst>
          <pc:spChg chg="add mod">
            <ac:chgData name="Hans Gelissen (DHL SSC Maastricht)" userId="1afa8510-4eed-4b73-a29e-678838cd8acd" providerId="ADAL" clId="{0D858F43-B312-4597-9BE0-00D4CFEB0FD6}" dt="2023-07-06T12:45:32.996" v="73"/>
            <ac:spMkLst>
              <pc:docMk/>
              <pc:sldMasterMk cId="3009645139" sldId="2147483782"/>
              <pc:sldLayoutMk cId="3666955133" sldId="2147483897"/>
              <ac:spMk id="3" creationId="{042078EF-495C-1EE1-D96A-AF0E5D03BDFB}"/>
            </ac:spMkLst>
          </pc:spChg>
        </pc:sldLayoutChg>
        <pc:sldLayoutChg chg="addSp modSp">
          <pc:chgData name="Hans Gelissen (DHL SSC Maastricht)" userId="1afa8510-4eed-4b73-a29e-678838cd8acd" providerId="ADAL" clId="{0D858F43-B312-4597-9BE0-00D4CFEB0FD6}" dt="2023-07-06T12:45:33.382" v="74"/>
          <pc:sldLayoutMkLst>
            <pc:docMk/>
            <pc:sldMasterMk cId="3009645139" sldId="2147483782"/>
            <pc:sldLayoutMk cId="1897181201" sldId="2147483898"/>
          </pc:sldLayoutMkLst>
          <pc:spChg chg="add mod">
            <ac:chgData name="Hans Gelissen (DHL SSC Maastricht)" userId="1afa8510-4eed-4b73-a29e-678838cd8acd" providerId="ADAL" clId="{0D858F43-B312-4597-9BE0-00D4CFEB0FD6}" dt="2023-07-06T12:45:33.382" v="74"/>
            <ac:spMkLst>
              <pc:docMk/>
              <pc:sldMasterMk cId="3009645139" sldId="2147483782"/>
              <pc:sldLayoutMk cId="1897181201" sldId="2147483898"/>
              <ac:spMk id="3" creationId="{1D41CEAB-B7D4-E7AC-212F-8C7E17E65541}"/>
            </ac:spMkLst>
          </pc:spChg>
        </pc:sldLayoutChg>
        <pc:sldLayoutChg chg="addSp modSp">
          <pc:chgData name="Hans Gelissen (DHL SSC Maastricht)" userId="1afa8510-4eed-4b73-a29e-678838cd8acd" providerId="ADAL" clId="{0D858F43-B312-4597-9BE0-00D4CFEB0FD6}" dt="2023-07-06T12:45:33.795" v="75"/>
          <pc:sldLayoutMkLst>
            <pc:docMk/>
            <pc:sldMasterMk cId="3009645139" sldId="2147483782"/>
            <pc:sldLayoutMk cId="262418530" sldId="2147483955"/>
          </pc:sldLayoutMkLst>
          <pc:spChg chg="add mod">
            <ac:chgData name="Hans Gelissen (DHL SSC Maastricht)" userId="1afa8510-4eed-4b73-a29e-678838cd8acd" providerId="ADAL" clId="{0D858F43-B312-4597-9BE0-00D4CFEB0FD6}" dt="2023-07-06T12:45:33.795" v="75"/>
            <ac:spMkLst>
              <pc:docMk/>
              <pc:sldMasterMk cId="3009645139" sldId="2147483782"/>
              <pc:sldLayoutMk cId="262418530" sldId="2147483955"/>
              <ac:spMk id="3" creationId="{41D0FE37-0B25-462A-A65B-1FC1558857F2}"/>
            </ac:spMkLst>
          </pc:spChg>
        </pc:sldLayoutChg>
        <pc:sldLayoutChg chg="addSp modSp">
          <pc:chgData name="Hans Gelissen (DHL SSC Maastricht)" userId="1afa8510-4eed-4b73-a29e-678838cd8acd" providerId="ADAL" clId="{0D858F43-B312-4597-9BE0-00D4CFEB0FD6}" dt="2023-07-06T12:45:34.182" v="76"/>
          <pc:sldLayoutMkLst>
            <pc:docMk/>
            <pc:sldMasterMk cId="3009645139" sldId="2147483782"/>
            <pc:sldLayoutMk cId="2338710343" sldId="2147483956"/>
          </pc:sldLayoutMkLst>
          <pc:spChg chg="add mod">
            <ac:chgData name="Hans Gelissen (DHL SSC Maastricht)" userId="1afa8510-4eed-4b73-a29e-678838cd8acd" providerId="ADAL" clId="{0D858F43-B312-4597-9BE0-00D4CFEB0FD6}" dt="2023-07-06T12:45:34.182" v="76"/>
            <ac:spMkLst>
              <pc:docMk/>
              <pc:sldMasterMk cId="3009645139" sldId="2147483782"/>
              <pc:sldLayoutMk cId="2338710343" sldId="2147483956"/>
              <ac:spMk id="3" creationId="{743C93D8-D9EE-816E-B63D-731C2CB4CD1B}"/>
            </ac:spMkLst>
          </pc:spChg>
        </pc:sldLayoutChg>
        <pc:sldLayoutChg chg="addSp modSp">
          <pc:chgData name="Hans Gelissen (DHL SSC Maastricht)" userId="1afa8510-4eed-4b73-a29e-678838cd8acd" providerId="ADAL" clId="{0D858F43-B312-4597-9BE0-00D4CFEB0FD6}" dt="2023-07-06T12:45:34.564" v="77"/>
          <pc:sldLayoutMkLst>
            <pc:docMk/>
            <pc:sldMasterMk cId="3009645139" sldId="2147483782"/>
            <pc:sldLayoutMk cId="385823197" sldId="2147483957"/>
          </pc:sldLayoutMkLst>
          <pc:spChg chg="add mod">
            <ac:chgData name="Hans Gelissen (DHL SSC Maastricht)" userId="1afa8510-4eed-4b73-a29e-678838cd8acd" providerId="ADAL" clId="{0D858F43-B312-4597-9BE0-00D4CFEB0FD6}" dt="2023-07-06T12:45:34.564" v="77"/>
            <ac:spMkLst>
              <pc:docMk/>
              <pc:sldMasterMk cId="3009645139" sldId="2147483782"/>
              <pc:sldLayoutMk cId="385823197" sldId="2147483957"/>
              <ac:spMk id="3" creationId="{940D12F8-6C58-04E3-FEC0-242D14B0206D}"/>
            </ac:spMkLst>
          </pc:spChg>
        </pc:sldLayoutChg>
        <pc:sldLayoutChg chg="addSp modSp">
          <pc:chgData name="Hans Gelissen (DHL SSC Maastricht)" userId="1afa8510-4eed-4b73-a29e-678838cd8acd" providerId="ADAL" clId="{0D858F43-B312-4597-9BE0-00D4CFEB0FD6}" dt="2023-07-06T12:45:34.946" v="78"/>
          <pc:sldLayoutMkLst>
            <pc:docMk/>
            <pc:sldMasterMk cId="3009645139" sldId="2147483782"/>
            <pc:sldLayoutMk cId="3246149922" sldId="2147483958"/>
          </pc:sldLayoutMkLst>
          <pc:spChg chg="add mod">
            <ac:chgData name="Hans Gelissen (DHL SSC Maastricht)" userId="1afa8510-4eed-4b73-a29e-678838cd8acd" providerId="ADAL" clId="{0D858F43-B312-4597-9BE0-00D4CFEB0FD6}" dt="2023-07-06T12:45:34.946" v="78"/>
            <ac:spMkLst>
              <pc:docMk/>
              <pc:sldMasterMk cId="3009645139" sldId="2147483782"/>
              <pc:sldLayoutMk cId="3246149922" sldId="2147483958"/>
              <ac:spMk id="3" creationId="{E9EC29FB-CCBD-2380-D168-052A006C1285}"/>
            </ac:spMkLst>
          </pc:spChg>
        </pc:sldLayoutChg>
        <pc:sldLayoutChg chg="addSp modSp">
          <pc:chgData name="Hans Gelissen (DHL SSC Maastricht)" userId="1afa8510-4eed-4b73-a29e-678838cd8acd" providerId="ADAL" clId="{0D858F43-B312-4597-9BE0-00D4CFEB0FD6}" dt="2023-07-06T12:45:35.350" v="79"/>
          <pc:sldLayoutMkLst>
            <pc:docMk/>
            <pc:sldMasterMk cId="3009645139" sldId="2147483782"/>
            <pc:sldLayoutMk cId="3261208622" sldId="2147483959"/>
          </pc:sldLayoutMkLst>
          <pc:spChg chg="add mod">
            <ac:chgData name="Hans Gelissen (DHL SSC Maastricht)" userId="1afa8510-4eed-4b73-a29e-678838cd8acd" providerId="ADAL" clId="{0D858F43-B312-4597-9BE0-00D4CFEB0FD6}" dt="2023-07-06T12:45:35.350" v="79"/>
            <ac:spMkLst>
              <pc:docMk/>
              <pc:sldMasterMk cId="3009645139" sldId="2147483782"/>
              <pc:sldLayoutMk cId="3261208622" sldId="2147483959"/>
              <ac:spMk id="3" creationId="{14FD90A2-E897-057F-9761-63925CA1F2B1}"/>
            </ac:spMkLst>
          </pc:spChg>
        </pc:sldLayoutChg>
        <pc:sldLayoutChg chg="addSp modSp">
          <pc:chgData name="Hans Gelissen (DHL SSC Maastricht)" userId="1afa8510-4eed-4b73-a29e-678838cd8acd" providerId="ADAL" clId="{0D858F43-B312-4597-9BE0-00D4CFEB0FD6}" dt="2023-07-06T12:45:35.774" v="80"/>
          <pc:sldLayoutMkLst>
            <pc:docMk/>
            <pc:sldMasterMk cId="3009645139" sldId="2147483782"/>
            <pc:sldLayoutMk cId="271718921" sldId="2147483960"/>
          </pc:sldLayoutMkLst>
          <pc:spChg chg="add mod">
            <ac:chgData name="Hans Gelissen (DHL SSC Maastricht)" userId="1afa8510-4eed-4b73-a29e-678838cd8acd" providerId="ADAL" clId="{0D858F43-B312-4597-9BE0-00D4CFEB0FD6}" dt="2023-07-06T12:45:35.774" v="80"/>
            <ac:spMkLst>
              <pc:docMk/>
              <pc:sldMasterMk cId="3009645139" sldId="2147483782"/>
              <pc:sldLayoutMk cId="271718921" sldId="2147483960"/>
              <ac:spMk id="3" creationId="{64F6EEAB-A3E4-1B7F-6155-F7375E6FEBE1}"/>
            </ac:spMkLst>
          </pc:spChg>
        </pc:sldLayoutChg>
        <pc:sldLayoutChg chg="addSp modSp">
          <pc:chgData name="Hans Gelissen (DHL SSC Maastricht)" userId="1afa8510-4eed-4b73-a29e-678838cd8acd" providerId="ADAL" clId="{0D858F43-B312-4597-9BE0-00D4CFEB0FD6}" dt="2023-07-06T12:45:36.183" v="81"/>
          <pc:sldLayoutMkLst>
            <pc:docMk/>
            <pc:sldMasterMk cId="3009645139" sldId="2147483782"/>
            <pc:sldLayoutMk cId="373419110" sldId="2147483961"/>
          </pc:sldLayoutMkLst>
          <pc:spChg chg="add mod">
            <ac:chgData name="Hans Gelissen (DHL SSC Maastricht)" userId="1afa8510-4eed-4b73-a29e-678838cd8acd" providerId="ADAL" clId="{0D858F43-B312-4597-9BE0-00D4CFEB0FD6}" dt="2023-07-06T12:45:36.183" v="81"/>
            <ac:spMkLst>
              <pc:docMk/>
              <pc:sldMasterMk cId="3009645139" sldId="2147483782"/>
              <pc:sldLayoutMk cId="373419110" sldId="2147483961"/>
              <ac:spMk id="3" creationId="{8C1C75EF-DB82-ABC3-A1DC-5B39CDF24654}"/>
            </ac:spMkLst>
          </pc:spChg>
        </pc:sldLayoutChg>
        <pc:sldLayoutChg chg="addSp modSp">
          <pc:chgData name="Hans Gelissen (DHL SSC Maastricht)" userId="1afa8510-4eed-4b73-a29e-678838cd8acd" providerId="ADAL" clId="{0D858F43-B312-4597-9BE0-00D4CFEB0FD6}" dt="2023-07-06T12:45:36.583" v="82"/>
          <pc:sldLayoutMkLst>
            <pc:docMk/>
            <pc:sldMasterMk cId="3009645139" sldId="2147483782"/>
            <pc:sldLayoutMk cId="413288453" sldId="2147483962"/>
          </pc:sldLayoutMkLst>
          <pc:spChg chg="add mod">
            <ac:chgData name="Hans Gelissen (DHL SSC Maastricht)" userId="1afa8510-4eed-4b73-a29e-678838cd8acd" providerId="ADAL" clId="{0D858F43-B312-4597-9BE0-00D4CFEB0FD6}" dt="2023-07-06T12:45:36.583" v="82"/>
            <ac:spMkLst>
              <pc:docMk/>
              <pc:sldMasterMk cId="3009645139" sldId="2147483782"/>
              <pc:sldLayoutMk cId="413288453" sldId="2147483962"/>
              <ac:spMk id="3" creationId="{7157F4ED-D29A-D705-6CFE-6CDD6C72B30A}"/>
            </ac:spMkLst>
          </pc:spChg>
        </pc:sldLayoutChg>
      </pc:sldMasterChg>
      <pc:sldMasterChg chg="addSp modSp modSldLayout">
        <pc:chgData name="Hans Gelissen (DHL SSC Maastricht)" userId="1afa8510-4eed-4b73-a29e-678838cd8acd" providerId="ADAL" clId="{0D858F43-B312-4597-9BE0-00D4CFEB0FD6}" dt="2023-07-06T12:46:01.415" v="120"/>
        <pc:sldMasterMkLst>
          <pc:docMk/>
          <pc:sldMasterMk cId="1560827226" sldId="2147483789"/>
        </pc:sldMasterMkLst>
        <pc:spChg chg="add mod">
          <ac:chgData name="Hans Gelissen (DHL SSC Maastricht)" userId="1afa8510-4eed-4b73-a29e-678838cd8acd" providerId="ADAL" clId="{0D858F43-B312-4597-9BE0-00D4CFEB0FD6}" dt="2023-07-06T12:44:28.213" v="15"/>
          <ac:spMkLst>
            <pc:docMk/>
            <pc:sldMasterMk cId="1560827226" sldId="2147483789"/>
            <ac:spMk id="2" creationId="{D4985E12-FE36-546E-8A80-610C7384E226}"/>
          </ac:spMkLst>
        </pc:spChg>
        <pc:sldLayoutChg chg="addSp modSp">
          <pc:chgData name="Hans Gelissen (DHL SSC Maastricht)" userId="1afa8510-4eed-4b73-a29e-678838cd8acd" providerId="ADAL" clId="{0D858F43-B312-4597-9BE0-00D4CFEB0FD6}" dt="2023-07-06T12:45:50.728" v="105"/>
          <pc:sldLayoutMkLst>
            <pc:docMk/>
            <pc:sldMasterMk cId="1560827226" sldId="2147483789"/>
            <pc:sldLayoutMk cId="1929487974" sldId="2147483748"/>
          </pc:sldLayoutMkLst>
          <pc:spChg chg="add mod">
            <ac:chgData name="Hans Gelissen (DHL SSC Maastricht)" userId="1afa8510-4eed-4b73-a29e-678838cd8acd" providerId="ADAL" clId="{0D858F43-B312-4597-9BE0-00D4CFEB0FD6}" dt="2023-07-06T12:45:50.728" v="105"/>
            <ac:spMkLst>
              <pc:docMk/>
              <pc:sldMasterMk cId="1560827226" sldId="2147483789"/>
              <pc:sldLayoutMk cId="1929487974" sldId="2147483748"/>
              <ac:spMk id="3" creationId="{D260CAC8-B628-2D7A-5517-63B5AE89C985}"/>
            </ac:spMkLst>
          </pc:spChg>
        </pc:sldLayoutChg>
        <pc:sldLayoutChg chg="addSp modSp">
          <pc:chgData name="Hans Gelissen (DHL SSC Maastricht)" userId="1afa8510-4eed-4b73-a29e-678838cd8acd" providerId="ADAL" clId="{0D858F43-B312-4597-9BE0-00D4CFEB0FD6}" dt="2023-07-06T12:45:46.360" v="101"/>
          <pc:sldLayoutMkLst>
            <pc:docMk/>
            <pc:sldMasterMk cId="1560827226" sldId="2147483789"/>
            <pc:sldLayoutMk cId="3112511369" sldId="2147483808"/>
          </pc:sldLayoutMkLst>
          <pc:spChg chg="add mod">
            <ac:chgData name="Hans Gelissen (DHL SSC Maastricht)" userId="1afa8510-4eed-4b73-a29e-678838cd8acd" providerId="ADAL" clId="{0D858F43-B312-4597-9BE0-00D4CFEB0FD6}" dt="2023-07-06T12:45:46.360" v="101"/>
            <ac:spMkLst>
              <pc:docMk/>
              <pc:sldMasterMk cId="1560827226" sldId="2147483789"/>
              <pc:sldLayoutMk cId="3112511369" sldId="2147483808"/>
              <ac:spMk id="3" creationId="{5C8CB7D6-C2FB-EB02-80D6-BC75608A8CC5}"/>
            </ac:spMkLst>
          </pc:spChg>
        </pc:sldLayoutChg>
        <pc:sldLayoutChg chg="addSp modSp">
          <pc:chgData name="Hans Gelissen (DHL SSC Maastricht)" userId="1afa8510-4eed-4b73-a29e-678838cd8acd" providerId="ADAL" clId="{0D858F43-B312-4597-9BE0-00D4CFEB0FD6}" dt="2023-07-06T12:45:46.693" v="102"/>
          <pc:sldLayoutMkLst>
            <pc:docMk/>
            <pc:sldMasterMk cId="1560827226" sldId="2147483789"/>
            <pc:sldLayoutMk cId="2973508890" sldId="2147483809"/>
          </pc:sldLayoutMkLst>
          <pc:spChg chg="add mod">
            <ac:chgData name="Hans Gelissen (DHL SSC Maastricht)" userId="1afa8510-4eed-4b73-a29e-678838cd8acd" providerId="ADAL" clId="{0D858F43-B312-4597-9BE0-00D4CFEB0FD6}" dt="2023-07-06T12:45:46.693" v="102"/>
            <ac:spMkLst>
              <pc:docMk/>
              <pc:sldMasterMk cId="1560827226" sldId="2147483789"/>
              <pc:sldLayoutMk cId="2973508890" sldId="2147483809"/>
              <ac:spMk id="3" creationId="{8E268968-56B8-7451-225B-3BC05EAB88CC}"/>
            </ac:spMkLst>
          </pc:spChg>
        </pc:sldLayoutChg>
        <pc:sldLayoutChg chg="addSp modSp">
          <pc:chgData name="Hans Gelissen (DHL SSC Maastricht)" userId="1afa8510-4eed-4b73-a29e-678838cd8acd" providerId="ADAL" clId="{0D858F43-B312-4597-9BE0-00D4CFEB0FD6}" dt="2023-07-06T12:46:01.415" v="120"/>
          <pc:sldLayoutMkLst>
            <pc:docMk/>
            <pc:sldMasterMk cId="1560827226" sldId="2147483789"/>
            <pc:sldLayoutMk cId="1933999975" sldId="2147483810"/>
          </pc:sldLayoutMkLst>
          <pc:spChg chg="add mod">
            <ac:chgData name="Hans Gelissen (DHL SSC Maastricht)" userId="1afa8510-4eed-4b73-a29e-678838cd8acd" providerId="ADAL" clId="{0D858F43-B312-4597-9BE0-00D4CFEB0FD6}" dt="2023-07-06T12:46:01.415" v="120"/>
            <ac:spMkLst>
              <pc:docMk/>
              <pc:sldMasterMk cId="1560827226" sldId="2147483789"/>
              <pc:sldLayoutMk cId="1933999975" sldId="2147483810"/>
              <ac:spMk id="3" creationId="{D1505969-F73C-AA2F-6467-D6BC909A4244}"/>
            </ac:spMkLst>
          </pc:spChg>
        </pc:sldLayoutChg>
        <pc:sldLayoutChg chg="addSp modSp">
          <pc:chgData name="Hans Gelissen (DHL SSC Maastricht)" userId="1afa8510-4eed-4b73-a29e-678838cd8acd" providerId="ADAL" clId="{0D858F43-B312-4597-9BE0-00D4CFEB0FD6}" dt="2023-07-06T12:45:47.445" v="104"/>
          <pc:sldLayoutMkLst>
            <pc:docMk/>
            <pc:sldMasterMk cId="1560827226" sldId="2147483789"/>
            <pc:sldLayoutMk cId="744637158" sldId="2147483853"/>
          </pc:sldLayoutMkLst>
          <pc:spChg chg="add mod">
            <ac:chgData name="Hans Gelissen (DHL SSC Maastricht)" userId="1afa8510-4eed-4b73-a29e-678838cd8acd" providerId="ADAL" clId="{0D858F43-B312-4597-9BE0-00D4CFEB0FD6}" dt="2023-07-06T12:45:47.445" v="104"/>
            <ac:spMkLst>
              <pc:docMk/>
              <pc:sldMasterMk cId="1560827226" sldId="2147483789"/>
              <pc:sldLayoutMk cId="744637158" sldId="2147483853"/>
              <ac:spMk id="3" creationId="{E1B71656-2CAB-46DA-BC51-60AEF3CC794C}"/>
            </ac:spMkLst>
          </pc:spChg>
        </pc:sldLayoutChg>
        <pc:sldLayoutChg chg="addSp modSp">
          <pc:chgData name="Hans Gelissen (DHL SSC Maastricht)" userId="1afa8510-4eed-4b73-a29e-678838cd8acd" providerId="ADAL" clId="{0D858F43-B312-4597-9BE0-00D4CFEB0FD6}" dt="2023-07-06T12:45:55.047" v="106"/>
          <pc:sldLayoutMkLst>
            <pc:docMk/>
            <pc:sldMasterMk cId="1560827226" sldId="2147483789"/>
            <pc:sldLayoutMk cId="912269737" sldId="2147483854"/>
          </pc:sldLayoutMkLst>
          <pc:spChg chg="add mod">
            <ac:chgData name="Hans Gelissen (DHL SSC Maastricht)" userId="1afa8510-4eed-4b73-a29e-678838cd8acd" providerId="ADAL" clId="{0D858F43-B312-4597-9BE0-00D4CFEB0FD6}" dt="2023-07-06T12:45:55.047" v="106"/>
            <ac:spMkLst>
              <pc:docMk/>
              <pc:sldMasterMk cId="1560827226" sldId="2147483789"/>
              <pc:sldLayoutMk cId="912269737" sldId="2147483854"/>
              <ac:spMk id="3" creationId="{0CAF3CA5-751A-2CCA-64A0-7AE7D1F4796E}"/>
            </ac:spMkLst>
          </pc:spChg>
        </pc:sldLayoutChg>
        <pc:sldLayoutChg chg="addSp modSp">
          <pc:chgData name="Hans Gelissen (DHL SSC Maastricht)" userId="1afa8510-4eed-4b73-a29e-678838cd8acd" providerId="ADAL" clId="{0D858F43-B312-4597-9BE0-00D4CFEB0FD6}" dt="2023-07-06T12:45:55.788" v="107"/>
          <pc:sldLayoutMkLst>
            <pc:docMk/>
            <pc:sldMasterMk cId="1560827226" sldId="2147483789"/>
            <pc:sldLayoutMk cId="3259315673" sldId="2147483855"/>
          </pc:sldLayoutMkLst>
          <pc:spChg chg="add mod">
            <ac:chgData name="Hans Gelissen (DHL SSC Maastricht)" userId="1afa8510-4eed-4b73-a29e-678838cd8acd" providerId="ADAL" clId="{0D858F43-B312-4597-9BE0-00D4CFEB0FD6}" dt="2023-07-06T12:45:55.788" v="107"/>
            <ac:spMkLst>
              <pc:docMk/>
              <pc:sldMasterMk cId="1560827226" sldId="2147483789"/>
              <pc:sldLayoutMk cId="3259315673" sldId="2147483855"/>
              <ac:spMk id="3" creationId="{BAF39962-C905-C9C9-58FB-ACBF9C13F920}"/>
            </ac:spMkLst>
          </pc:spChg>
        </pc:sldLayoutChg>
        <pc:sldLayoutChg chg="addSp modSp">
          <pc:chgData name="Hans Gelissen (DHL SSC Maastricht)" userId="1afa8510-4eed-4b73-a29e-678838cd8acd" providerId="ADAL" clId="{0D858F43-B312-4597-9BE0-00D4CFEB0FD6}" dt="2023-07-06T12:45:47.082" v="103"/>
          <pc:sldLayoutMkLst>
            <pc:docMk/>
            <pc:sldMasterMk cId="1560827226" sldId="2147483789"/>
            <pc:sldLayoutMk cId="133451210" sldId="2147483856"/>
          </pc:sldLayoutMkLst>
          <pc:spChg chg="add mod">
            <ac:chgData name="Hans Gelissen (DHL SSC Maastricht)" userId="1afa8510-4eed-4b73-a29e-678838cd8acd" providerId="ADAL" clId="{0D858F43-B312-4597-9BE0-00D4CFEB0FD6}" dt="2023-07-06T12:45:47.082" v="103"/>
            <ac:spMkLst>
              <pc:docMk/>
              <pc:sldMasterMk cId="1560827226" sldId="2147483789"/>
              <pc:sldLayoutMk cId="133451210" sldId="2147483856"/>
              <ac:spMk id="3" creationId="{7D44C117-3068-FAE4-8065-D6277A0FAC18}"/>
            </ac:spMkLst>
          </pc:spChg>
        </pc:sldLayoutChg>
        <pc:sldLayoutChg chg="addSp modSp">
          <pc:chgData name="Hans Gelissen (DHL SSC Maastricht)" userId="1afa8510-4eed-4b73-a29e-678838cd8acd" providerId="ADAL" clId="{0D858F43-B312-4597-9BE0-00D4CFEB0FD6}" dt="2023-07-06T12:45:56.253" v="108"/>
          <pc:sldLayoutMkLst>
            <pc:docMk/>
            <pc:sldMasterMk cId="1560827226" sldId="2147483789"/>
            <pc:sldLayoutMk cId="2456586523" sldId="2147483905"/>
          </pc:sldLayoutMkLst>
          <pc:spChg chg="add mod">
            <ac:chgData name="Hans Gelissen (DHL SSC Maastricht)" userId="1afa8510-4eed-4b73-a29e-678838cd8acd" providerId="ADAL" clId="{0D858F43-B312-4597-9BE0-00D4CFEB0FD6}" dt="2023-07-06T12:45:56.253" v="108"/>
            <ac:spMkLst>
              <pc:docMk/>
              <pc:sldMasterMk cId="1560827226" sldId="2147483789"/>
              <pc:sldLayoutMk cId="2456586523" sldId="2147483905"/>
              <ac:spMk id="3" creationId="{B89A3308-2DEF-F7A5-92DD-0A9172B03AB0}"/>
            </ac:spMkLst>
          </pc:spChg>
        </pc:sldLayoutChg>
        <pc:sldLayoutChg chg="addSp modSp">
          <pc:chgData name="Hans Gelissen (DHL SSC Maastricht)" userId="1afa8510-4eed-4b73-a29e-678838cd8acd" providerId="ADAL" clId="{0D858F43-B312-4597-9BE0-00D4CFEB0FD6}" dt="2023-07-06T12:45:56.703" v="109"/>
          <pc:sldLayoutMkLst>
            <pc:docMk/>
            <pc:sldMasterMk cId="1560827226" sldId="2147483789"/>
            <pc:sldLayoutMk cId="3206099427" sldId="2147483906"/>
          </pc:sldLayoutMkLst>
          <pc:spChg chg="add mod">
            <ac:chgData name="Hans Gelissen (DHL SSC Maastricht)" userId="1afa8510-4eed-4b73-a29e-678838cd8acd" providerId="ADAL" clId="{0D858F43-B312-4597-9BE0-00D4CFEB0FD6}" dt="2023-07-06T12:45:56.703" v="109"/>
            <ac:spMkLst>
              <pc:docMk/>
              <pc:sldMasterMk cId="1560827226" sldId="2147483789"/>
              <pc:sldLayoutMk cId="3206099427" sldId="2147483906"/>
              <ac:spMk id="3" creationId="{BA5D77C0-EC29-3F62-8CF7-87644394F9B6}"/>
            </ac:spMkLst>
          </pc:spChg>
        </pc:sldLayoutChg>
        <pc:sldLayoutChg chg="addSp modSp">
          <pc:chgData name="Hans Gelissen (DHL SSC Maastricht)" userId="1afa8510-4eed-4b73-a29e-678838cd8acd" providerId="ADAL" clId="{0D858F43-B312-4597-9BE0-00D4CFEB0FD6}" dt="2023-07-06T12:45:57.152" v="110"/>
          <pc:sldLayoutMkLst>
            <pc:docMk/>
            <pc:sldMasterMk cId="1560827226" sldId="2147483789"/>
            <pc:sldLayoutMk cId="4204909159" sldId="2147483907"/>
          </pc:sldLayoutMkLst>
          <pc:spChg chg="add mod">
            <ac:chgData name="Hans Gelissen (DHL SSC Maastricht)" userId="1afa8510-4eed-4b73-a29e-678838cd8acd" providerId="ADAL" clId="{0D858F43-B312-4597-9BE0-00D4CFEB0FD6}" dt="2023-07-06T12:45:57.152" v="110"/>
            <ac:spMkLst>
              <pc:docMk/>
              <pc:sldMasterMk cId="1560827226" sldId="2147483789"/>
              <pc:sldLayoutMk cId="4204909159" sldId="2147483907"/>
              <ac:spMk id="3" creationId="{11BAB701-30F8-A3A9-FC27-FAF1368A180A}"/>
            </ac:spMkLst>
          </pc:spChg>
        </pc:sldLayoutChg>
        <pc:sldLayoutChg chg="addSp modSp">
          <pc:chgData name="Hans Gelissen (DHL SSC Maastricht)" userId="1afa8510-4eed-4b73-a29e-678838cd8acd" providerId="ADAL" clId="{0D858F43-B312-4597-9BE0-00D4CFEB0FD6}" dt="2023-07-06T12:45:57.569" v="111"/>
          <pc:sldLayoutMkLst>
            <pc:docMk/>
            <pc:sldMasterMk cId="1560827226" sldId="2147483789"/>
            <pc:sldLayoutMk cId="1584122736" sldId="2147483908"/>
          </pc:sldLayoutMkLst>
          <pc:spChg chg="add mod">
            <ac:chgData name="Hans Gelissen (DHL SSC Maastricht)" userId="1afa8510-4eed-4b73-a29e-678838cd8acd" providerId="ADAL" clId="{0D858F43-B312-4597-9BE0-00D4CFEB0FD6}" dt="2023-07-06T12:45:57.569" v="111"/>
            <ac:spMkLst>
              <pc:docMk/>
              <pc:sldMasterMk cId="1560827226" sldId="2147483789"/>
              <pc:sldLayoutMk cId="1584122736" sldId="2147483908"/>
              <ac:spMk id="3" creationId="{5F5DA4CA-4A73-35BB-0F61-1D0E0F01E9A4}"/>
            </ac:spMkLst>
          </pc:spChg>
        </pc:sldLayoutChg>
        <pc:sldLayoutChg chg="addSp modSp">
          <pc:chgData name="Hans Gelissen (DHL SSC Maastricht)" userId="1afa8510-4eed-4b73-a29e-678838cd8acd" providerId="ADAL" clId="{0D858F43-B312-4597-9BE0-00D4CFEB0FD6}" dt="2023-07-06T12:45:57.920" v="112"/>
          <pc:sldLayoutMkLst>
            <pc:docMk/>
            <pc:sldMasterMk cId="1560827226" sldId="2147483789"/>
            <pc:sldLayoutMk cId="1787164114" sldId="2147483989"/>
          </pc:sldLayoutMkLst>
          <pc:spChg chg="add mod">
            <ac:chgData name="Hans Gelissen (DHL SSC Maastricht)" userId="1afa8510-4eed-4b73-a29e-678838cd8acd" providerId="ADAL" clId="{0D858F43-B312-4597-9BE0-00D4CFEB0FD6}" dt="2023-07-06T12:45:57.920" v="112"/>
            <ac:spMkLst>
              <pc:docMk/>
              <pc:sldMasterMk cId="1560827226" sldId="2147483789"/>
              <pc:sldLayoutMk cId="1787164114" sldId="2147483989"/>
              <ac:spMk id="3" creationId="{90BE829C-7CD2-3A51-A028-046DB795C529}"/>
            </ac:spMkLst>
          </pc:spChg>
        </pc:sldLayoutChg>
        <pc:sldLayoutChg chg="addSp modSp">
          <pc:chgData name="Hans Gelissen (DHL SSC Maastricht)" userId="1afa8510-4eed-4b73-a29e-678838cd8acd" providerId="ADAL" clId="{0D858F43-B312-4597-9BE0-00D4CFEB0FD6}" dt="2023-07-06T12:45:58.373" v="113"/>
          <pc:sldLayoutMkLst>
            <pc:docMk/>
            <pc:sldMasterMk cId="1560827226" sldId="2147483789"/>
            <pc:sldLayoutMk cId="243815297" sldId="2147483990"/>
          </pc:sldLayoutMkLst>
          <pc:spChg chg="add mod">
            <ac:chgData name="Hans Gelissen (DHL SSC Maastricht)" userId="1afa8510-4eed-4b73-a29e-678838cd8acd" providerId="ADAL" clId="{0D858F43-B312-4597-9BE0-00D4CFEB0FD6}" dt="2023-07-06T12:45:58.373" v="113"/>
            <ac:spMkLst>
              <pc:docMk/>
              <pc:sldMasterMk cId="1560827226" sldId="2147483789"/>
              <pc:sldLayoutMk cId="243815297" sldId="2147483990"/>
              <ac:spMk id="3" creationId="{E6A7F575-41F5-50CB-130E-106344CD7158}"/>
            </ac:spMkLst>
          </pc:spChg>
        </pc:sldLayoutChg>
        <pc:sldLayoutChg chg="addSp modSp">
          <pc:chgData name="Hans Gelissen (DHL SSC Maastricht)" userId="1afa8510-4eed-4b73-a29e-678838cd8acd" providerId="ADAL" clId="{0D858F43-B312-4597-9BE0-00D4CFEB0FD6}" dt="2023-07-06T12:45:58.874" v="114"/>
          <pc:sldLayoutMkLst>
            <pc:docMk/>
            <pc:sldMasterMk cId="1560827226" sldId="2147483789"/>
            <pc:sldLayoutMk cId="719341732" sldId="2147483991"/>
          </pc:sldLayoutMkLst>
          <pc:spChg chg="add mod">
            <ac:chgData name="Hans Gelissen (DHL SSC Maastricht)" userId="1afa8510-4eed-4b73-a29e-678838cd8acd" providerId="ADAL" clId="{0D858F43-B312-4597-9BE0-00D4CFEB0FD6}" dt="2023-07-06T12:45:58.874" v="114"/>
            <ac:spMkLst>
              <pc:docMk/>
              <pc:sldMasterMk cId="1560827226" sldId="2147483789"/>
              <pc:sldLayoutMk cId="719341732" sldId="2147483991"/>
              <ac:spMk id="3" creationId="{FDE957B4-114C-72AF-63C6-C27A0CB64166}"/>
            </ac:spMkLst>
          </pc:spChg>
        </pc:sldLayoutChg>
        <pc:sldLayoutChg chg="addSp modSp">
          <pc:chgData name="Hans Gelissen (DHL SSC Maastricht)" userId="1afa8510-4eed-4b73-a29e-678838cd8acd" providerId="ADAL" clId="{0D858F43-B312-4597-9BE0-00D4CFEB0FD6}" dt="2023-07-06T12:45:59.248" v="115"/>
          <pc:sldLayoutMkLst>
            <pc:docMk/>
            <pc:sldMasterMk cId="1560827226" sldId="2147483789"/>
            <pc:sldLayoutMk cId="74415229" sldId="2147483992"/>
          </pc:sldLayoutMkLst>
          <pc:spChg chg="add mod">
            <ac:chgData name="Hans Gelissen (DHL SSC Maastricht)" userId="1afa8510-4eed-4b73-a29e-678838cd8acd" providerId="ADAL" clId="{0D858F43-B312-4597-9BE0-00D4CFEB0FD6}" dt="2023-07-06T12:45:59.248" v="115"/>
            <ac:spMkLst>
              <pc:docMk/>
              <pc:sldMasterMk cId="1560827226" sldId="2147483789"/>
              <pc:sldLayoutMk cId="74415229" sldId="2147483992"/>
              <ac:spMk id="3" creationId="{09C836CB-85BF-93C8-8EC3-C1E906F0843E}"/>
            </ac:spMkLst>
          </pc:spChg>
        </pc:sldLayoutChg>
        <pc:sldLayoutChg chg="addSp modSp">
          <pc:chgData name="Hans Gelissen (DHL SSC Maastricht)" userId="1afa8510-4eed-4b73-a29e-678838cd8acd" providerId="ADAL" clId="{0D858F43-B312-4597-9BE0-00D4CFEB0FD6}" dt="2023-07-06T12:46:00.157" v="117"/>
          <pc:sldLayoutMkLst>
            <pc:docMk/>
            <pc:sldMasterMk cId="1560827226" sldId="2147483789"/>
            <pc:sldLayoutMk cId="2411693142" sldId="2147483993"/>
          </pc:sldLayoutMkLst>
          <pc:spChg chg="add mod">
            <ac:chgData name="Hans Gelissen (DHL SSC Maastricht)" userId="1afa8510-4eed-4b73-a29e-678838cd8acd" providerId="ADAL" clId="{0D858F43-B312-4597-9BE0-00D4CFEB0FD6}" dt="2023-07-06T12:46:00.157" v="117"/>
            <ac:spMkLst>
              <pc:docMk/>
              <pc:sldMasterMk cId="1560827226" sldId="2147483789"/>
              <pc:sldLayoutMk cId="2411693142" sldId="2147483993"/>
              <ac:spMk id="3" creationId="{14381341-E55E-1CD6-7CC0-1825339BE1BD}"/>
            </ac:spMkLst>
          </pc:spChg>
        </pc:sldLayoutChg>
        <pc:sldLayoutChg chg="addSp modSp">
          <pc:chgData name="Hans Gelissen (DHL SSC Maastricht)" userId="1afa8510-4eed-4b73-a29e-678838cd8acd" providerId="ADAL" clId="{0D858F43-B312-4597-9BE0-00D4CFEB0FD6}" dt="2023-07-06T12:46:00.523" v="118"/>
          <pc:sldLayoutMkLst>
            <pc:docMk/>
            <pc:sldMasterMk cId="1560827226" sldId="2147483789"/>
            <pc:sldLayoutMk cId="4286881312" sldId="2147483994"/>
          </pc:sldLayoutMkLst>
          <pc:spChg chg="add mod">
            <ac:chgData name="Hans Gelissen (DHL SSC Maastricht)" userId="1afa8510-4eed-4b73-a29e-678838cd8acd" providerId="ADAL" clId="{0D858F43-B312-4597-9BE0-00D4CFEB0FD6}" dt="2023-07-06T12:46:00.523" v="118"/>
            <ac:spMkLst>
              <pc:docMk/>
              <pc:sldMasterMk cId="1560827226" sldId="2147483789"/>
              <pc:sldLayoutMk cId="4286881312" sldId="2147483994"/>
              <ac:spMk id="3" creationId="{833B2DF5-F050-C049-FF45-4ED4B922CE73}"/>
            </ac:spMkLst>
          </pc:spChg>
        </pc:sldLayoutChg>
        <pc:sldLayoutChg chg="addSp modSp">
          <pc:chgData name="Hans Gelissen (DHL SSC Maastricht)" userId="1afa8510-4eed-4b73-a29e-678838cd8acd" providerId="ADAL" clId="{0D858F43-B312-4597-9BE0-00D4CFEB0FD6}" dt="2023-07-06T12:46:00.972" v="119"/>
          <pc:sldLayoutMkLst>
            <pc:docMk/>
            <pc:sldMasterMk cId="1560827226" sldId="2147483789"/>
            <pc:sldLayoutMk cId="463531548" sldId="2147483995"/>
          </pc:sldLayoutMkLst>
          <pc:spChg chg="add mod">
            <ac:chgData name="Hans Gelissen (DHL SSC Maastricht)" userId="1afa8510-4eed-4b73-a29e-678838cd8acd" providerId="ADAL" clId="{0D858F43-B312-4597-9BE0-00D4CFEB0FD6}" dt="2023-07-06T12:46:00.972" v="119"/>
            <ac:spMkLst>
              <pc:docMk/>
              <pc:sldMasterMk cId="1560827226" sldId="2147483789"/>
              <pc:sldLayoutMk cId="463531548" sldId="2147483995"/>
              <ac:spMk id="3" creationId="{4722764F-50EC-0656-BAC5-240D692B0A77}"/>
            </ac:spMkLst>
          </pc:spChg>
        </pc:sldLayoutChg>
        <pc:sldLayoutChg chg="addSp modSp">
          <pc:chgData name="Hans Gelissen (DHL SSC Maastricht)" userId="1afa8510-4eed-4b73-a29e-678838cd8acd" providerId="ADAL" clId="{0D858F43-B312-4597-9BE0-00D4CFEB0FD6}" dt="2023-07-06T12:45:59.740" v="116"/>
          <pc:sldLayoutMkLst>
            <pc:docMk/>
            <pc:sldMasterMk cId="1560827226" sldId="2147483789"/>
            <pc:sldLayoutMk cId="520838339" sldId="2147483996"/>
          </pc:sldLayoutMkLst>
          <pc:spChg chg="add mod">
            <ac:chgData name="Hans Gelissen (DHL SSC Maastricht)" userId="1afa8510-4eed-4b73-a29e-678838cd8acd" providerId="ADAL" clId="{0D858F43-B312-4597-9BE0-00D4CFEB0FD6}" dt="2023-07-06T12:45:59.740" v="116"/>
            <ac:spMkLst>
              <pc:docMk/>
              <pc:sldMasterMk cId="1560827226" sldId="2147483789"/>
              <pc:sldLayoutMk cId="520838339" sldId="2147483996"/>
              <ac:spMk id="3" creationId="{292B23F9-4C34-9DA0-DA67-297CF7068D62}"/>
            </ac:spMkLst>
          </pc:spChg>
        </pc:sldLayoutChg>
      </pc:sldMasterChg>
      <pc:sldMasterChg chg="addSp modSp modSldLayout">
        <pc:chgData name="Hans Gelissen (DHL SSC Maastricht)" userId="1afa8510-4eed-4b73-a29e-678838cd8acd" providerId="ADAL" clId="{0D858F43-B312-4597-9BE0-00D4CFEB0FD6}" dt="2023-07-06T12:45:45.255" v="100"/>
        <pc:sldMasterMkLst>
          <pc:docMk/>
          <pc:sldMasterMk cId="1369645148" sldId="2147483790"/>
        </pc:sldMasterMkLst>
        <pc:spChg chg="add mod">
          <ac:chgData name="Hans Gelissen (DHL SSC Maastricht)" userId="1afa8510-4eed-4b73-a29e-678838cd8acd" providerId="ADAL" clId="{0D858F43-B312-4597-9BE0-00D4CFEB0FD6}" dt="2023-07-06T12:44:24.927" v="14"/>
          <ac:spMkLst>
            <pc:docMk/>
            <pc:sldMasterMk cId="1369645148" sldId="2147483790"/>
            <ac:spMk id="2" creationId="{6562ECC5-815E-ADF3-1B1C-D4F0EF02B0B2}"/>
          </ac:spMkLst>
        </pc:spChg>
        <pc:sldLayoutChg chg="addSp modSp">
          <pc:chgData name="Hans Gelissen (DHL SSC Maastricht)" userId="1afa8510-4eed-4b73-a29e-678838cd8acd" providerId="ADAL" clId="{0D858F43-B312-4597-9BE0-00D4CFEB0FD6}" dt="2023-07-06T12:45:38.269" v="84"/>
          <pc:sldLayoutMkLst>
            <pc:docMk/>
            <pc:sldMasterMk cId="1369645148" sldId="2147483790"/>
            <pc:sldLayoutMk cId="4265294671" sldId="2147483805"/>
          </pc:sldLayoutMkLst>
          <pc:spChg chg="add mod">
            <ac:chgData name="Hans Gelissen (DHL SSC Maastricht)" userId="1afa8510-4eed-4b73-a29e-678838cd8acd" providerId="ADAL" clId="{0D858F43-B312-4597-9BE0-00D4CFEB0FD6}" dt="2023-07-06T12:45:38.269" v="84"/>
            <ac:spMkLst>
              <pc:docMk/>
              <pc:sldMasterMk cId="1369645148" sldId="2147483790"/>
              <pc:sldLayoutMk cId="4265294671" sldId="2147483805"/>
              <ac:spMk id="3" creationId="{E97C8104-C33A-CDC4-B18B-EF5A1E040675}"/>
            </ac:spMkLst>
          </pc:spChg>
        </pc:sldLayoutChg>
        <pc:sldLayoutChg chg="addSp modSp">
          <pc:chgData name="Hans Gelissen (DHL SSC Maastricht)" userId="1afa8510-4eed-4b73-a29e-678838cd8acd" providerId="ADAL" clId="{0D858F43-B312-4597-9BE0-00D4CFEB0FD6}" dt="2023-07-06T12:45:45.255" v="100"/>
          <pc:sldLayoutMkLst>
            <pc:docMk/>
            <pc:sldMasterMk cId="1369645148" sldId="2147483790"/>
            <pc:sldLayoutMk cId="510718105" sldId="2147483807"/>
          </pc:sldLayoutMkLst>
          <pc:spChg chg="add mod">
            <ac:chgData name="Hans Gelissen (DHL SSC Maastricht)" userId="1afa8510-4eed-4b73-a29e-678838cd8acd" providerId="ADAL" clId="{0D858F43-B312-4597-9BE0-00D4CFEB0FD6}" dt="2023-07-06T12:45:45.255" v="100"/>
            <ac:spMkLst>
              <pc:docMk/>
              <pc:sldMasterMk cId="1369645148" sldId="2147483790"/>
              <pc:sldLayoutMk cId="510718105" sldId="2147483807"/>
              <ac:spMk id="3" creationId="{A4F764A5-2E54-FF8B-8BE6-97A2874D2967}"/>
            </ac:spMkLst>
          </pc:spChg>
        </pc:sldLayoutChg>
        <pc:sldLayoutChg chg="addSp modSp">
          <pc:chgData name="Hans Gelissen (DHL SSC Maastricht)" userId="1afa8510-4eed-4b73-a29e-678838cd8acd" providerId="ADAL" clId="{0D858F43-B312-4597-9BE0-00D4CFEB0FD6}" dt="2023-07-06T12:45:39.132" v="85"/>
          <pc:sldLayoutMkLst>
            <pc:docMk/>
            <pc:sldMasterMk cId="1369645148" sldId="2147483790"/>
            <pc:sldLayoutMk cId="1943895301" sldId="2147483845"/>
          </pc:sldLayoutMkLst>
          <pc:spChg chg="add mod">
            <ac:chgData name="Hans Gelissen (DHL SSC Maastricht)" userId="1afa8510-4eed-4b73-a29e-678838cd8acd" providerId="ADAL" clId="{0D858F43-B312-4597-9BE0-00D4CFEB0FD6}" dt="2023-07-06T12:45:39.132" v="85"/>
            <ac:spMkLst>
              <pc:docMk/>
              <pc:sldMasterMk cId="1369645148" sldId="2147483790"/>
              <pc:sldLayoutMk cId="1943895301" sldId="2147483845"/>
              <ac:spMk id="3" creationId="{A31E30A9-C1B5-8F27-4292-86D4B0C219E2}"/>
            </ac:spMkLst>
          </pc:spChg>
        </pc:sldLayoutChg>
        <pc:sldLayoutChg chg="addSp modSp">
          <pc:chgData name="Hans Gelissen (DHL SSC Maastricht)" userId="1afa8510-4eed-4b73-a29e-678838cd8acd" providerId="ADAL" clId="{0D858F43-B312-4597-9BE0-00D4CFEB0FD6}" dt="2023-07-06T12:45:39.444" v="86"/>
          <pc:sldLayoutMkLst>
            <pc:docMk/>
            <pc:sldMasterMk cId="1369645148" sldId="2147483790"/>
            <pc:sldLayoutMk cId="2772115122" sldId="2147483846"/>
          </pc:sldLayoutMkLst>
          <pc:spChg chg="add mod">
            <ac:chgData name="Hans Gelissen (DHL SSC Maastricht)" userId="1afa8510-4eed-4b73-a29e-678838cd8acd" providerId="ADAL" clId="{0D858F43-B312-4597-9BE0-00D4CFEB0FD6}" dt="2023-07-06T12:45:39.444" v="86"/>
            <ac:spMkLst>
              <pc:docMk/>
              <pc:sldMasterMk cId="1369645148" sldId="2147483790"/>
              <pc:sldLayoutMk cId="2772115122" sldId="2147483846"/>
              <ac:spMk id="3" creationId="{85105F57-93A2-08F5-CD22-FBBDE4BBCD11}"/>
            </ac:spMkLst>
          </pc:spChg>
        </pc:sldLayoutChg>
        <pc:sldLayoutChg chg="addSp modSp">
          <pc:chgData name="Hans Gelissen (DHL SSC Maastricht)" userId="1afa8510-4eed-4b73-a29e-678838cd8acd" providerId="ADAL" clId="{0D858F43-B312-4597-9BE0-00D4CFEB0FD6}" dt="2023-07-06T12:45:39.821" v="87"/>
          <pc:sldLayoutMkLst>
            <pc:docMk/>
            <pc:sldMasterMk cId="1369645148" sldId="2147483790"/>
            <pc:sldLayoutMk cId="2373569907" sldId="2147483847"/>
          </pc:sldLayoutMkLst>
          <pc:spChg chg="add mod">
            <ac:chgData name="Hans Gelissen (DHL SSC Maastricht)" userId="1afa8510-4eed-4b73-a29e-678838cd8acd" providerId="ADAL" clId="{0D858F43-B312-4597-9BE0-00D4CFEB0FD6}" dt="2023-07-06T12:45:39.821" v="87"/>
            <ac:spMkLst>
              <pc:docMk/>
              <pc:sldMasterMk cId="1369645148" sldId="2147483790"/>
              <pc:sldLayoutMk cId="2373569907" sldId="2147483847"/>
              <ac:spMk id="3" creationId="{D2736B12-A511-72B3-CAEB-889F5C56DDBA}"/>
            </ac:spMkLst>
          </pc:spChg>
        </pc:sldLayoutChg>
        <pc:sldLayoutChg chg="addSp modSp">
          <pc:chgData name="Hans Gelissen (DHL SSC Maastricht)" userId="1afa8510-4eed-4b73-a29e-678838cd8acd" providerId="ADAL" clId="{0D858F43-B312-4597-9BE0-00D4CFEB0FD6}" dt="2023-07-06T12:45:40.191" v="88"/>
          <pc:sldLayoutMkLst>
            <pc:docMk/>
            <pc:sldMasterMk cId="1369645148" sldId="2147483790"/>
            <pc:sldLayoutMk cId="3743593104" sldId="2147483848"/>
          </pc:sldLayoutMkLst>
          <pc:spChg chg="add mod">
            <ac:chgData name="Hans Gelissen (DHL SSC Maastricht)" userId="1afa8510-4eed-4b73-a29e-678838cd8acd" providerId="ADAL" clId="{0D858F43-B312-4597-9BE0-00D4CFEB0FD6}" dt="2023-07-06T12:45:40.191" v="88"/>
            <ac:spMkLst>
              <pc:docMk/>
              <pc:sldMasterMk cId="1369645148" sldId="2147483790"/>
              <pc:sldLayoutMk cId="3743593104" sldId="2147483848"/>
              <ac:spMk id="3" creationId="{AA6D710C-96CC-F2BB-D170-6C76025E5EA7}"/>
            </ac:spMkLst>
          </pc:spChg>
        </pc:sldLayoutChg>
        <pc:sldLayoutChg chg="addSp modSp">
          <pc:chgData name="Hans Gelissen (DHL SSC Maastricht)" userId="1afa8510-4eed-4b73-a29e-678838cd8acd" providerId="ADAL" clId="{0D858F43-B312-4597-9BE0-00D4CFEB0FD6}" dt="2023-07-06T12:45:40.630" v="89"/>
          <pc:sldLayoutMkLst>
            <pc:docMk/>
            <pc:sldMasterMk cId="1369645148" sldId="2147483790"/>
            <pc:sldLayoutMk cId="1234143409" sldId="2147483900"/>
          </pc:sldLayoutMkLst>
          <pc:spChg chg="add mod">
            <ac:chgData name="Hans Gelissen (DHL SSC Maastricht)" userId="1afa8510-4eed-4b73-a29e-678838cd8acd" providerId="ADAL" clId="{0D858F43-B312-4597-9BE0-00D4CFEB0FD6}" dt="2023-07-06T12:45:40.630" v="89"/>
            <ac:spMkLst>
              <pc:docMk/>
              <pc:sldMasterMk cId="1369645148" sldId="2147483790"/>
              <pc:sldLayoutMk cId="1234143409" sldId="2147483900"/>
              <ac:spMk id="3" creationId="{B08126EB-AACE-09E2-EE1C-47B6B13E7745}"/>
            </ac:spMkLst>
          </pc:spChg>
        </pc:sldLayoutChg>
        <pc:sldLayoutChg chg="addSp modSp">
          <pc:chgData name="Hans Gelissen (DHL SSC Maastricht)" userId="1afa8510-4eed-4b73-a29e-678838cd8acd" providerId="ADAL" clId="{0D858F43-B312-4597-9BE0-00D4CFEB0FD6}" dt="2023-07-06T12:45:41.016" v="90"/>
          <pc:sldLayoutMkLst>
            <pc:docMk/>
            <pc:sldMasterMk cId="1369645148" sldId="2147483790"/>
            <pc:sldLayoutMk cId="4262359168" sldId="2147483901"/>
          </pc:sldLayoutMkLst>
          <pc:spChg chg="add mod">
            <ac:chgData name="Hans Gelissen (DHL SSC Maastricht)" userId="1afa8510-4eed-4b73-a29e-678838cd8acd" providerId="ADAL" clId="{0D858F43-B312-4597-9BE0-00D4CFEB0FD6}" dt="2023-07-06T12:45:41.016" v="90"/>
            <ac:spMkLst>
              <pc:docMk/>
              <pc:sldMasterMk cId="1369645148" sldId="2147483790"/>
              <pc:sldLayoutMk cId="4262359168" sldId="2147483901"/>
              <ac:spMk id="3" creationId="{6A577DD0-3085-8764-58F9-35632F35DDE0}"/>
            </ac:spMkLst>
          </pc:spChg>
        </pc:sldLayoutChg>
        <pc:sldLayoutChg chg="addSp modSp">
          <pc:chgData name="Hans Gelissen (DHL SSC Maastricht)" userId="1afa8510-4eed-4b73-a29e-678838cd8acd" providerId="ADAL" clId="{0D858F43-B312-4597-9BE0-00D4CFEB0FD6}" dt="2023-07-06T12:45:41.413" v="91"/>
          <pc:sldLayoutMkLst>
            <pc:docMk/>
            <pc:sldMasterMk cId="1369645148" sldId="2147483790"/>
            <pc:sldLayoutMk cId="2696547024" sldId="2147483902"/>
          </pc:sldLayoutMkLst>
          <pc:spChg chg="add mod">
            <ac:chgData name="Hans Gelissen (DHL SSC Maastricht)" userId="1afa8510-4eed-4b73-a29e-678838cd8acd" providerId="ADAL" clId="{0D858F43-B312-4597-9BE0-00D4CFEB0FD6}" dt="2023-07-06T12:45:41.413" v="91"/>
            <ac:spMkLst>
              <pc:docMk/>
              <pc:sldMasterMk cId="1369645148" sldId="2147483790"/>
              <pc:sldLayoutMk cId="2696547024" sldId="2147483902"/>
              <ac:spMk id="3" creationId="{A121D82E-04E8-21F2-4FCA-E77038D3374F}"/>
            </ac:spMkLst>
          </pc:spChg>
        </pc:sldLayoutChg>
        <pc:sldLayoutChg chg="addSp modSp">
          <pc:chgData name="Hans Gelissen (DHL SSC Maastricht)" userId="1afa8510-4eed-4b73-a29e-678838cd8acd" providerId="ADAL" clId="{0D858F43-B312-4597-9BE0-00D4CFEB0FD6}" dt="2023-07-06T12:45:41.807" v="92"/>
          <pc:sldLayoutMkLst>
            <pc:docMk/>
            <pc:sldMasterMk cId="1369645148" sldId="2147483790"/>
            <pc:sldLayoutMk cId="4024878256" sldId="2147483903"/>
          </pc:sldLayoutMkLst>
          <pc:spChg chg="add mod">
            <ac:chgData name="Hans Gelissen (DHL SSC Maastricht)" userId="1afa8510-4eed-4b73-a29e-678838cd8acd" providerId="ADAL" clId="{0D858F43-B312-4597-9BE0-00D4CFEB0FD6}" dt="2023-07-06T12:45:41.807" v="92"/>
            <ac:spMkLst>
              <pc:docMk/>
              <pc:sldMasterMk cId="1369645148" sldId="2147483790"/>
              <pc:sldLayoutMk cId="4024878256" sldId="2147483903"/>
              <ac:spMk id="3" creationId="{5014EA18-D9F2-2DFB-8F36-980102627C31}"/>
            </ac:spMkLst>
          </pc:spChg>
        </pc:sldLayoutChg>
        <pc:sldLayoutChg chg="addSp modSp">
          <pc:chgData name="Hans Gelissen (DHL SSC Maastricht)" userId="1afa8510-4eed-4b73-a29e-678838cd8acd" providerId="ADAL" clId="{0D858F43-B312-4597-9BE0-00D4CFEB0FD6}" dt="2023-07-06T12:45:42.185" v="93"/>
          <pc:sldLayoutMkLst>
            <pc:docMk/>
            <pc:sldMasterMk cId="1369645148" sldId="2147483790"/>
            <pc:sldLayoutMk cId="2875832596" sldId="2147483963"/>
          </pc:sldLayoutMkLst>
          <pc:spChg chg="add mod">
            <ac:chgData name="Hans Gelissen (DHL SSC Maastricht)" userId="1afa8510-4eed-4b73-a29e-678838cd8acd" providerId="ADAL" clId="{0D858F43-B312-4597-9BE0-00D4CFEB0FD6}" dt="2023-07-06T12:45:42.185" v="93"/>
            <ac:spMkLst>
              <pc:docMk/>
              <pc:sldMasterMk cId="1369645148" sldId="2147483790"/>
              <pc:sldLayoutMk cId="2875832596" sldId="2147483963"/>
              <ac:spMk id="3" creationId="{F49A568F-039D-3CA5-C6E8-FDC21CC23628}"/>
            </ac:spMkLst>
          </pc:spChg>
        </pc:sldLayoutChg>
        <pc:sldLayoutChg chg="addSp modSp">
          <pc:chgData name="Hans Gelissen (DHL SSC Maastricht)" userId="1afa8510-4eed-4b73-a29e-678838cd8acd" providerId="ADAL" clId="{0D858F43-B312-4597-9BE0-00D4CFEB0FD6}" dt="2023-07-06T12:45:44.465" v="98"/>
          <pc:sldLayoutMkLst>
            <pc:docMk/>
            <pc:sldMasterMk cId="1369645148" sldId="2147483790"/>
            <pc:sldLayoutMk cId="2771766758" sldId="2147483965"/>
          </pc:sldLayoutMkLst>
          <pc:spChg chg="add mod">
            <ac:chgData name="Hans Gelissen (DHL SSC Maastricht)" userId="1afa8510-4eed-4b73-a29e-678838cd8acd" providerId="ADAL" clId="{0D858F43-B312-4597-9BE0-00D4CFEB0FD6}" dt="2023-07-06T12:45:44.465" v="98"/>
            <ac:spMkLst>
              <pc:docMk/>
              <pc:sldMasterMk cId="1369645148" sldId="2147483790"/>
              <pc:sldLayoutMk cId="2771766758" sldId="2147483965"/>
              <ac:spMk id="3" creationId="{3C6186C1-3165-F053-BB92-8F477E0BA122}"/>
            </ac:spMkLst>
          </pc:spChg>
        </pc:sldLayoutChg>
        <pc:sldLayoutChg chg="addSp modSp">
          <pc:chgData name="Hans Gelissen (DHL SSC Maastricht)" userId="1afa8510-4eed-4b73-a29e-678838cd8acd" providerId="ADAL" clId="{0D858F43-B312-4597-9BE0-00D4CFEB0FD6}" dt="2023-07-06T12:45:44.845" v="99"/>
          <pc:sldLayoutMkLst>
            <pc:docMk/>
            <pc:sldMasterMk cId="1369645148" sldId="2147483790"/>
            <pc:sldLayoutMk cId="428736053" sldId="2147483966"/>
          </pc:sldLayoutMkLst>
          <pc:spChg chg="add mod">
            <ac:chgData name="Hans Gelissen (DHL SSC Maastricht)" userId="1afa8510-4eed-4b73-a29e-678838cd8acd" providerId="ADAL" clId="{0D858F43-B312-4597-9BE0-00D4CFEB0FD6}" dt="2023-07-06T12:45:44.845" v="99"/>
            <ac:spMkLst>
              <pc:docMk/>
              <pc:sldMasterMk cId="1369645148" sldId="2147483790"/>
              <pc:sldLayoutMk cId="428736053" sldId="2147483966"/>
              <ac:spMk id="3" creationId="{2974CD3A-C319-7335-1F50-A8755A22CFD9}"/>
            </ac:spMkLst>
          </pc:spChg>
        </pc:sldLayoutChg>
        <pc:sldLayoutChg chg="addSp modSp">
          <pc:chgData name="Hans Gelissen (DHL SSC Maastricht)" userId="1afa8510-4eed-4b73-a29e-678838cd8acd" providerId="ADAL" clId="{0D858F43-B312-4597-9BE0-00D4CFEB0FD6}" dt="2023-07-06T12:45:42.577" v="94"/>
          <pc:sldLayoutMkLst>
            <pc:docMk/>
            <pc:sldMasterMk cId="1369645148" sldId="2147483790"/>
            <pc:sldLayoutMk cId="3374739531" sldId="2147483967"/>
          </pc:sldLayoutMkLst>
          <pc:spChg chg="add mod">
            <ac:chgData name="Hans Gelissen (DHL SSC Maastricht)" userId="1afa8510-4eed-4b73-a29e-678838cd8acd" providerId="ADAL" clId="{0D858F43-B312-4597-9BE0-00D4CFEB0FD6}" dt="2023-07-06T12:45:42.577" v="94"/>
            <ac:spMkLst>
              <pc:docMk/>
              <pc:sldMasterMk cId="1369645148" sldId="2147483790"/>
              <pc:sldLayoutMk cId="3374739531" sldId="2147483967"/>
              <ac:spMk id="3" creationId="{051FF87B-E337-56AF-A56B-01C66C712BA4}"/>
            </ac:spMkLst>
          </pc:spChg>
        </pc:sldLayoutChg>
        <pc:sldLayoutChg chg="addSp modSp">
          <pc:chgData name="Hans Gelissen (DHL SSC Maastricht)" userId="1afa8510-4eed-4b73-a29e-678838cd8acd" providerId="ADAL" clId="{0D858F43-B312-4597-9BE0-00D4CFEB0FD6}" dt="2023-07-06T12:45:42.979" v="95"/>
          <pc:sldLayoutMkLst>
            <pc:docMk/>
            <pc:sldMasterMk cId="1369645148" sldId="2147483790"/>
            <pc:sldLayoutMk cId="372204976" sldId="2147483968"/>
          </pc:sldLayoutMkLst>
          <pc:spChg chg="add mod">
            <ac:chgData name="Hans Gelissen (DHL SSC Maastricht)" userId="1afa8510-4eed-4b73-a29e-678838cd8acd" providerId="ADAL" clId="{0D858F43-B312-4597-9BE0-00D4CFEB0FD6}" dt="2023-07-06T12:45:42.979" v="95"/>
            <ac:spMkLst>
              <pc:docMk/>
              <pc:sldMasterMk cId="1369645148" sldId="2147483790"/>
              <pc:sldLayoutMk cId="372204976" sldId="2147483968"/>
              <ac:spMk id="3" creationId="{8B86D614-3561-C21B-EF4A-822FF0D8A0D1}"/>
            </ac:spMkLst>
          </pc:spChg>
        </pc:sldLayoutChg>
        <pc:sldLayoutChg chg="addSp modSp">
          <pc:chgData name="Hans Gelissen (DHL SSC Maastricht)" userId="1afa8510-4eed-4b73-a29e-678838cd8acd" providerId="ADAL" clId="{0D858F43-B312-4597-9BE0-00D4CFEB0FD6}" dt="2023-07-06T12:45:43.323" v="96"/>
          <pc:sldLayoutMkLst>
            <pc:docMk/>
            <pc:sldMasterMk cId="1369645148" sldId="2147483790"/>
            <pc:sldLayoutMk cId="2974460564" sldId="2147483969"/>
          </pc:sldLayoutMkLst>
          <pc:spChg chg="add mod">
            <ac:chgData name="Hans Gelissen (DHL SSC Maastricht)" userId="1afa8510-4eed-4b73-a29e-678838cd8acd" providerId="ADAL" clId="{0D858F43-B312-4597-9BE0-00D4CFEB0FD6}" dt="2023-07-06T12:45:43.323" v="96"/>
            <ac:spMkLst>
              <pc:docMk/>
              <pc:sldMasterMk cId="1369645148" sldId="2147483790"/>
              <pc:sldLayoutMk cId="2974460564" sldId="2147483969"/>
              <ac:spMk id="3" creationId="{9FA5E7B1-092A-BAC9-B119-3A9904A4C162}"/>
            </ac:spMkLst>
          </pc:spChg>
        </pc:sldLayoutChg>
        <pc:sldLayoutChg chg="addSp modSp">
          <pc:chgData name="Hans Gelissen (DHL SSC Maastricht)" userId="1afa8510-4eed-4b73-a29e-678838cd8acd" providerId="ADAL" clId="{0D858F43-B312-4597-9BE0-00D4CFEB0FD6}" dt="2023-07-06T12:45:43.703" v="97"/>
          <pc:sldLayoutMkLst>
            <pc:docMk/>
            <pc:sldMasterMk cId="1369645148" sldId="2147483790"/>
            <pc:sldLayoutMk cId="2919855449" sldId="2147483970"/>
          </pc:sldLayoutMkLst>
          <pc:spChg chg="add mod">
            <ac:chgData name="Hans Gelissen (DHL SSC Maastricht)" userId="1afa8510-4eed-4b73-a29e-678838cd8acd" providerId="ADAL" clId="{0D858F43-B312-4597-9BE0-00D4CFEB0FD6}" dt="2023-07-06T12:45:43.703" v="97"/>
            <ac:spMkLst>
              <pc:docMk/>
              <pc:sldMasterMk cId="1369645148" sldId="2147483790"/>
              <pc:sldLayoutMk cId="2919855449" sldId="2147483970"/>
              <ac:spMk id="3" creationId="{1E055FD0-0DA0-1CAA-948D-6F10BAF1181A}"/>
            </ac:spMkLst>
          </pc:spChg>
        </pc:sldLayoutChg>
      </pc:sldMasterChg>
      <pc:sldMasterChg chg="addSp modSp modSldLayout">
        <pc:chgData name="Hans Gelissen (DHL SSC Maastricht)" userId="1afa8510-4eed-4b73-a29e-678838cd8acd" providerId="ADAL" clId="{0D858F43-B312-4597-9BE0-00D4CFEB0FD6}" dt="2023-07-06T12:46:19.950" v="157"/>
        <pc:sldMasterMkLst>
          <pc:docMk/>
          <pc:sldMasterMk cId="1868986140" sldId="2147483797"/>
        </pc:sldMasterMkLst>
        <pc:spChg chg="add mod">
          <ac:chgData name="Hans Gelissen (DHL SSC Maastricht)" userId="1afa8510-4eed-4b73-a29e-678838cd8acd" providerId="ADAL" clId="{0D858F43-B312-4597-9BE0-00D4CFEB0FD6}" dt="2023-07-06T12:44:35.557" v="17"/>
          <ac:spMkLst>
            <pc:docMk/>
            <pc:sldMasterMk cId="1868986140" sldId="2147483797"/>
            <ac:spMk id="2" creationId="{F3F5F0C0-0E85-9A71-E458-499F107DC0EF}"/>
          </ac:spMkLst>
        </pc:spChg>
        <pc:sldLayoutChg chg="addSp modSp">
          <pc:chgData name="Hans Gelissen (DHL SSC Maastricht)" userId="1afa8510-4eed-4b73-a29e-678838cd8acd" providerId="ADAL" clId="{0D858F43-B312-4597-9BE0-00D4CFEB0FD6}" dt="2023-07-06T12:46:19.294" v="155"/>
          <pc:sldLayoutMkLst>
            <pc:docMk/>
            <pc:sldMasterMk cId="1868986140" sldId="2147483797"/>
            <pc:sldLayoutMk cId="1943396673" sldId="2147483817"/>
          </pc:sldLayoutMkLst>
          <pc:spChg chg="add mod">
            <ac:chgData name="Hans Gelissen (DHL SSC Maastricht)" userId="1afa8510-4eed-4b73-a29e-678838cd8acd" providerId="ADAL" clId="{0D858F43-B312-4597-9BE0-00D4CFEB0FD6}" dt="2023-07-06T12:46:19.294" v="155"/>
            <ac:spMkLst>
              <pc:docMk/>
              <pc:sldMasterMk cId="1868986140" sldId="2147483797"/>
              <pc:sldLayoutMk cId="1943396673" sldId="2147483817"/>
              <ac:spMk id="2" creationId="{A99491C7-827C-0987-41EA-57A86A2E8440}"/>
            </ac:spMkLst>
          </pc:spChg>
        </pc:sldLayoutChg>
        <pc:sldLayoutChg chg="addSp modSp">
          <pc:chgData name="Hans Gelissen (DHL SSC Maastricht)" userId="1afa8510-4eed-4b73-a29e-678838cd8acd" providerId="ADAL" clId="{0D858F43-B312-4597-9BE0-00D4CFEB0FD6}" dt="2023-07-06T12:46:19.617" v="156"/>
          <pc:sldLayoutMkLst>
            <pc:docMk/>
            <pc:sldMasterMk cId="1868986140" sldId="2147483797"/>
            <pc:sldLayoutMk cId="2070522211" sldId="2147483819"/>
          </pc:sldLayoutMkLst>
          <pc:spChg chg="add mod">
            <ac:chgData name="Hans Gelissen (DHL SSC Maastricht)" userId="1afa8510-4eed-4b73-a29e-678838cd8acd" providerId="ADAL" clId="{0D858F43-B312-4597-9BE0-00D4CFEB0FD6}" dt="2023-07-06T12:46:19.617" v="156"/>
            <ac:spMkLst>
              <pc:docMk/>
              <pc:sldMasterMk cId="1868986140" sldId="2147483797"/>
              <pc:sldLayoutMk cId="2070522211" sldId="2147483819"/>
              <ac:spMk id="2" creationId="{A96B5B76-4260-8BD0-D4DB-35B2520A894B}"/>
            </ac:spMkLst>
          </pc:spChg>
        </pc:sldLayoutChg>
        <pc:sldLayoutChg chg="addSp modSp">
          <pc:chgData name="Hans Gelissen (DHL SSC Maastricht)" userId="1afa8510-4eed-4b73-a29e-678838cd8acd" providerId="ADAL" clId="{0D858F43-B312-4597-9BE0-00D4CFEB0FD6}" dt="2023-07-06T12:46:12.774" v="140"/>
          <pc:sldLayoutMkLst>
            <pc:docMk/>
            <pc:sldMasterMk cId="1868986140" sldId="2147483797"/>
            <pc:sldLayoutMk cId="3945046336" sldId="2147483820"/>
          </pc:sldLayoutMkLst>
          <pc:spChg chg="add mod">
            <ac:chgData name="Hans Gelissen (DHL SSC Maastricht)" userId="1afa8510-4eed-4b73-a29e-678838cd8acd" providerId="ADAL" clId="{0D858F43-B312-4597-9BE0-00D4CFEB0FD6}" dt="2023-07-06T12:46:12.774" v="140"/>
            <ac:spMkLst>
              <pc:docMk/>
              <pc:sldMasterMk cId="1868986140" sldId="2147483797"/>
              <pc:sldLayoutMk cId="3945046336" sldId="2147483820"/>
              <ac:spMk id="2" creationId="{72F5B77B-A5D4-115E-F2FC-70A6BFB041A7}"/>
            </ac:spMkLst>
          </pc:spChg>
        </pc:sldLayoutChg>
        <pc:sldLayoutChg chg="addSp modSp">
          <pc:chgData name="Hans Gelissen (DHL SSC Maastricht)" userId="1afa8510-4eed-4b73-a29e-678838cd8acd" providerId="ADAL" clId="{0D858F43-B312-4597-9BE0-00D4CFEB0FD6}" dt="2023-07-06T12:46:13.233" v="141"/>
          <pc:sldLayoutMkLst>
            <pc:docMk/>
            <pc:sldMasterMk cId="1868986140" sldId="2147483797"/>
            <pc:sldLayoutMk cId="3617079200" sldId="2147483821"/>
          </pc:sldLayoutMkLst>
          <pc:spChg chg="add mod">
            <ac:chgData name="Hans Gelissen (DHL SSC Maastricht)" userId="1afa8510-4eed-4b73-a29e-678838cd8acd" providerId="ADAL" clId="{0D858F43-B312-4597-9BE0-00D4CFEB0FD6}" dt="2023-07-06T12:46:13.233" v="141"/>
            <ac:spMkLst>
              <pc:docMk/>
              <pc:sldMasterMk cId="1868986140" sldId="2147483797"/>
              <pc:sldLayoutMk cId="3617079200" sldId="2147483821"/>
              <ac:spMk id="2" creationId="{2EDA325C-92F0-6A9B-84B3-CEB485DB7706}"/>
            </ac:spMkLst>
          </pc:spChg>
        </pc:sldLayoutChg>
        <pc:sldLayoutChg chg="addSp modSp">
          <pc:chgData name="Hans Gelissen (DHL SSC Maastricht)" userId="1afa8510-4eed-4b73-a29e-678838cd8acd" providerId="ADAL" clId="{0D858F43-B312-4597-9BE0-00D4CFEB0FD6}" dt="2023-07-06T12:46:18.935" v="154"/>
          <pc:sldLayoutMkLst>
            <pc:docMk/>
            <pc:sldMasterMk cId="1868986140" sldId="2147483797"/>
            <pc:sldLayoutMk cId="3526513862" sldId="2147483822"/>
          </pc:sldLayoutMkLst>
          <pc:spChg chg="add mod">
            <ac:chgData name="Hans Gelissen (DHL SSC Maastricht)" userId="1afa8510-4eed-4b73-a29e-678838cd8acd" providerId="ADAL" clId="{0D858F43-B312-4597-9BE0-00D4CFEB0FD6}" dt="2023-07-06T12:46:18.935" v="154"/>
            <ac:spMkLst>
              <pc:docMk/>
              <pc:sldMasterMk cId="1868986140" sldId="2147483797"/>
              <pc:sldLayoutMk cId="3526513862" sldId="2147483822"/>
              <ac:spMk id="2" creationId="{FC51F391-4338-9AF7-E7F6-0A452A3B8E14}"/>
            </ac:spMkLst>
          </pc:spChg>
        </pc:sldLayoutChg>
        <pc:sldLayoutChg chg="addSp modSp">
          <pc:chgData name="Hans Gelissen (DHL SSC Maastricht)" userId="1afa8510-4eed-4b73-a29e-678838cd8acd" providerId="ADAL" clId="{0D858F43-B312-4597-9BE0-00D4CFEB0FD6}" dt="2023-07-06T12:46:13.552" v="142"/>
          <pc:sldLayoutMkLst>
            <pc:docMk/>
            <pc:sldMasterMk cId="1868986140" sldId="2147483797"/>
            <pc:sldLayoutMk cId="3806172940" sldId="2147483867"/>
          </pc:sldLayoutMkLst>
          <pc:spChg chg="add mod">
            <ac:chgData name="Hans Gelissen (DHL SSC Maastricht)" userId="1afa8510-4eed-4b73-a29e-678838cd8acd" providerId="ADAL" clId="{0D858F43-B312-4597-9BE0-00D4CFEB0FD6}" dt="2023-07-06T12:46:13.552" v="142"/>
            <ac:spMkLst>
              <pc:docMk/>
              <pc:sldMasterMk cId="1868986140" sldId="2147483797"/>
              <pc:sldLayoutMk cId="3806172940" sldId="2147483867"/>
              <ac:spMk id="2" creationId="{3D8FAB24-6CEC-F205-959F-6BD75E886571}"/>
            </ac:spMkLst>
          </pc:spChg>
        </pc:sldLayoutChg>
        <pc:sldLayoutChg chg="addSp modSp">
          <pc:chgData name="Hans Gelissen (DHL SSC Maastricht)" userId="1afa8510-4eed-4b73-a29e-678838cd8acd" providerId="ADAL" clId="{0D858F43-B312-4597-9BE0-00D4CFEB0FD6}" dt="2023-07-06T12:46:13.958" v="143"/>
          <pc:sldLayoutMkLst>
            <pc:docMk/>
            <pc:sldMasterMk cId="1868986140" sldId="2147483797"/>
            <pc:sldLayoutMk cId="2251536655" sldId="2147483868"/>
          </pc:sldLayoutMkLst>
          <pc:spChg chg="add mod">
            <ac:chgData name="Hans Gelissen (DHL SSC Maastricht)" userId="1afa8510-4eed-4b73-a29e-678838cd8acd" providerId="ADAL" clId="{0D858F43-B312-4597-9BE0-00D4CFEB0FD6}" dt="2023-07-06T12:46:13.958" v="143"/>
            <ac:spMkLst>
              <pc:docMk/>
              <pc:sldMasterMk cId="1868986140" sldId="2147483797"/>
              <pc:sldLayoutMk cId="2251536655" sldId="2147483868"/>
              <ac:spMk id="2" creationId="{2C52F181-4A25-B509-2A72-4D6B9603A60E}"/>
            </ac:spMkLst>
          </pc:spChg>
        </pc:sldLayoutChg>
        <pc:sldLayoutChg chg="addSp modSp">
          <pc:chgData name="Hans Gelissen (DHL SSC Maastricht)" userId="1afa8510-4eed-4b73-a29e-678838cd8acd" providerId="ADAL" clId="{0D858F43-B312-4597-9BE0-00D4CFEB0FD6}" dt="2023-07-06T12:46:14.325" v="144"/>
          <pc:sldLayoutMkLst>
            <pc:docMk/>
            <pc:sldMasterMk cId="1868986140" sldId="2147483797"/>
            <pc:sldLayoutMk cId="2932579979" sldId="2147483869"/>
          </pc:sldLayoutMkLst>
          <pc:spChg chg="add mod">
            <ac:chgData name="Hans Gelissen (DHL SSC Maastricht)" userId="1afa8510-4eed-4b73-a29e-678838cd8acd" providerId="ADAL" clId="{0D858F43-B312-4597-9BE0-00D4CFEB0FD6}" dt="2023-07-06T12:46:14.325" v="144"/>
            <ac:spMkLst>
              <pc:docMk/>
              <pc:sldMasterMk cId="1868986140" sldId="2147483797"/>
              <pc:sldLayoutMk cId="2932579979" sldId="2147483869"/>
              <ac:spMk id="2" creationId="{F4F3E17C-17E5-B69F-8799-D3B43B43C6A5}"/>
            </ac:spMkLst>
          </pc:spChg>
        </pc:sldLayoutChg>
        <pc:sldLayoutChg chg="addSp modSp">
          <pc:chgData name="Hans Gelissen (DHL SSC Maastricht)" userId="1afa8510-4eed-4b73-a29e-678838cd8acd" providerId="ADAL" clId="{0D858F43-B312-4597-9BE0-00D4CFEB0FD6}" dt="2023-07-06T12:46:15.143" v="145"/>
          <pc:sldLayoutMkLst>
            <pc:docMk/>
            <pc:sldMasterMk cId="1868986140" sldId="2147483797"/>
            <pc:sldLayoutMk cId="2040111478" sldId="2147483916"/>
          </pc:sldLayoutMkLst>
          <pc:spChg chg="add mod">
            <ac:chgData name="Hans Gelissen (DHL SSC Maastricht)" userId="1afa8510-4eed-4b73-a29e-678838cd8acd" providerId="ADAL" clId="{0D858F43-B312-4597-9BE0-00D4CFEB0FD6}" dt="2023-07-06T12:46:15.143" v="145"/>
            <ac:spMkLst>
              <pc:docMk/>
              <pc:sldMasterMk cId="1868986140" sldId="2147483797"/>
              <pc:sldLayoutMk cId="2040111478" sldId="2147483916"/>
              <ac:spMk id="2" creationId="{E6B91766-352F-3EF6-CAA1-BEFF3F0966EA}"/>
            </ac:spMkLst>
          </pc:spChg>
        </pc:sldLayoutChg>
        <pc:sldLayoutChg chg="addSp modSp">
          <pc:chgData name="Hans Gelissen (DHL SSC Maastricht)" userId="1afa8510-4eed-4b73-a29e-678838cd8acd" providerId="ADAL" clId="{0D858F43-B312-4597-9BE0-00D4CFEB0FD6}" dt="2023-07-06T12:46:15.514" v="146"/>
          <pc:sldLayoutMkLst>
            <pc:docMk/>
            <pc:sldMasterMk cId="1868986140" sldId="2147483797"/>
            <pc:sldLayoutMk cId="244716027" sldId="2147483917"/>
          </pc:sldLayoutMkLst>
          <pc:spChg chg="add mod">
            <ac:chgData name="Hans Gelissen (DHL SSC Maastricht)" userId="1afa8510-4eed-4b73-a29e-678838cd8acd" providerId="ADAL" clId="{0D858F43-B312-4597-9BE0-00D4CFEB0FD6}" dt="2023-07-06T12:46:15.514" v="146"/>
            <ac:spMkLst>
              <pc:docMk/>
              <pc:sldMasterMk cId="1868986140" sldId="2147483797"/>
              <pc:sldLayoutMk cId="244716027" sldId="2147483917"/>
              <ac:spMk id="2" creationId="{2B2D744A-37E2-397A-2A05-D3D0D5507F3A}"/>
            </ac:spMkLst>
          </pc:spChg>
        </pc:sldLayoutChg>
        <pc:sldLayoutChg chg="addSp modSp">
          <pc:chgData name="Hans Gelissen (DHL SSC Maastricht)" userId="1afa8510-4eed-4b73-a29e-678838cd8acd" providerId="ADAL" clId="{0D858F43-B312-4597-9BE0-00D4CFEB0FD6}" dt="2023-07-06T12:46:15.878" v="147"/>
          <pc:sldLayoutMkLst>
            <pc:docMk/>
            <pc:sldMasterMk cId="1868986140" sldId="2147483797"/>
            <pc:sldLayoutMk cId="1644390991" sldId="2147483918"/>
          </pc:sldLayoutMkLst>
          <pc:spChg chg="add mod">
            <ac:chgData name="Hans Gelissen (DHL SSC Maastricht)" userId="1afa8510-4eed-4b73-a29e-678838cd8acd" providerId="ADAL" clId="{0D858F43-B312-4597-9BE0-00D4CFEB0FD6}" dt="2023-07-06T12:46:15.878" v="147"/>
            <ac:spMkLst>
              <pc:docMk/>
              <pc:sldMasterMk cId="1868986140" sldId="2147483797"/>
              <pc:sldLayoutMk cId="1644390991" sldId="2147483918"/>
              <ac:spMk id="2" creationId="{F042A46C-8CE1-99E6-C3C5-13CDE096C1A8}"/>
            </ac:spMkLst>
          </pc:spChg>
        </pc:sldLayoutChg>
        <pc:sldLayoutChg chg="addSp modSp">
          <pc:chgData name="Hans Gelissen (DHL SSC Maastricht)" userId="1afa8510-4eed-4b73-a29e-678838cd8acd" providerId="ADAL" clId="{0D858F43-B312-4597-9BE0-00D4CFEB0FD6}" dt="2023-07-06T12:46:16.625" v="148"/>
          <pc:sldLayoutMkLst>
            <pc:docMk/>
            <pc:sldMasterMk cId="1868986140" sldId="2147483797"/>
            <pc:sldLayoutMk cId="4173667141" sldId="2147483998"/>
          </pc:sldLayoutMkLst>
          <pc:spChg chg="add mod">
            <ac:chgData name="Hans Gelissen (DHL SSC Maastricht)" userId="1afa8510-4eed-4b73-a29e-678838cd8acd" providerId="ADAL" clId="{0D858F43-B312-4597-9BE0-00D4CFEB0FD6}" dt="2023-07-06T12:46:16.625" v="148"/>
            <ac:spMkLst>
              <pc:docMk/>
              <pc:sldMasterMk cId="1868986140" sldId="2147483797"/>
              <pc:sldLayoutMk cId="4173667141" sldId="2147483998"/>
              <ac:spMk id="2" creationId="{9EE12F72-9E74-1AB9-1215-EE4584FE45D0}"/>
            </ac:spMkLst>
          </pc:spChg>
        </pc:sldLayoutChg>
        <pc:sldLayoutChg chg="addSp modSp">
          <pc:chgData name="Hans Gelissen (DHL SSC Maastricht)" userId="1afa8510-4eed-4b73-a29e-678838cd8acd" providerId="ADAL" clId="{0D858F43-B312-4597-9BE0-00D4CFEB0FD6}" dt="2023-07-06T12:46:17.017" v="149"/>
          <pc:sldLayoutMkLst>
            <pc:docMk/>
            <pc:sldMasterMk cId="1868986140" sldId="2147483797"/>
            <pc:sldLayoutMk cId="792619031" sldId="2147483999"/>
          </pc:sldLayoutMkLst>
          <pc:spChg chg="add mod">
            <ac:chgData name="Hans Gelissen (DHL SSC Maastricht)" userId="1afa8510-4eed-4b73-a29e-678838cd8acd" providerId="ADAL" clId="{0D858F43-B312-4597-9BE0-00D4CFEB0FD6}" dt="2023-07-06T12:46:17.017" v="149"/>
            <ac:spMkLst>
              <pc:docMk/>
              <pc:sldMasterMk cId="1868986140" sldId="2147483797"/>
              <pc:sldLayoutMk cId="792619031" sldId="2147483999"/>
              <ac:spMk id="2" creationId="{9D53FFBE-054C-7586-7EB9-999626BB3D67}"/>
            </ac:spMkLst>
          </pc:spChg>
        </pc:sldLayoutChg>
        <pc:sldLayoutChg chg="addSp modSp">
          <pc:chgData name="Hans Gelissen (DHL SSC Maastricht)" userId="1afa8510-4eed-4b73-a29e-678838cd8acd" providerId="ADAL" clId="{0D858F43-B312-4597-9BE0-00D4CFEB0FD6}" dt="2023-07-06T12:46:17.340" v="150"/>
          <pc:sldLayoutMkLst>
            <pc:docMk/>
            <pc:sldMasterMk cId="1868986140" sldId="2147483797"/>
            <pc:sldLayoutMk cId="3478677470" sldId="2147484000"/>
          </pc:sldLayoutMkLst>
          <pc:spChg chg="add mod">
            <ac:chgData name="Hans Gelissen (DHL SSC Maastricht)" userId="1afa8510-4eed-4b73-a29e-678838cd8acd" providerId="ADAL" clId="{0D858F43-B312-4597-9BE0-00D4CFEB0FD6}" dt="2023-07-06T12:46:17.340" v="150"/>
            <ac:spMkLst>
              <pc:docMk/>
              <pc:sldMasterMk cId="1868986140" sldId="2147483797"/>
              <pc:sldLayoutMk cId="3478677470" sldId="2147484000"/>
              <ac:spMk id="2" creationId="{F3A95892-A82D-4759-5B19-C535183463B7}"/>
            </ac:spMkLst>
          </pc:spChg>
        </pc:sldLayoutChg>
        <pc:sldLayoutChg chg="addSp modSp">
          <pc:chgData name="Hans Gelissen (DHL SSC Maastricht)" userId="1afa8510-4eed-4b73-a29e-678838cd8acd" providerId="ADAL" clId="{0D858F43-B312-4597-9BE0-00D4CFEB0FD6}" dt="2023-07-06T12:46:17.999" v="152"/>
          <pc:sldLayoutMkLst>
            <pc:docMk/>
            <pc:sldMasterMk cId="1868986140" sldId="2147483797"/>
            <pc:sldLayoutMk cId="2857915107" sldId="2147484002"/>
          </pc:sldLayoutMkLst>
          <pc:spChg chg="add mod">
            <ac:chgData name="Hans Gelissen (DHL SSC Maastricht)" userId="1afa8510-4eed-4b73-a29e-678838cd8acd" providerId="ADAL" clId="{0D858F43-B312-4597-9BE0-00D4CFEB0FD6}" dt="2023-07-06T12:46:17.999" v="152"/>
            <ac:spMkLst>
              <pc:docMk/>
              <pc:sldMasterMk cId="1868986140" sldId="2147483797"/>
              <pc:sldLayoutMk cId="2857915107" sldId="2147484002"/>
              <ac:spMk id="2" creationId="{92DE2AD0-3E78-A6E3-83A7-3609226ADCED}"/>
            </ac:spMkLst>
          </pc:spChg>
        </pc:sldLayoutChg>
        <pc:sldLayoutChg chg="addSp modSp">
          <pc:chgData name="Hans Gelissen (DHL SSC Maastricht)" userId="1afa8510-4eed-4b73-a29e-678838cd8acd" providerId="ADAL" clId="{0D858F43-B312-4597-9BE0-00D4CFEB0FD6}" dt="2023-07-06T12:46:18.828" v="153"/>
          <pc:sldLayoutMkLst>
            <pc:docMk/>
            <pc:sldMasterMk cId="1868986140" sldId="2147483797"/>
            <pc:sldLayoutMk cId="3568781352" sldId="2147484003"/>
          </pc:sldLayoutMkLst>
          <pc:spChg chg="add mod">
            <ac:chgData name="Hans Gelissen (DHL SSC Maastricht)" userId="1afa8510-4eed-4b73-a29e-678838cd8acd" providerId="ADAL" clId="{0D858F43-B312-4597-9BE0-00D4CFEB0FD6}" dt="2023-07-06T12:46:18.828" v="153"/>
            <ac:spMkLst>
              <pc:docMk/>
              <pc:sldMasterMk cId="1868986140" sldId="2147483797"/>
              <pc:sldLayoutMk cId="3568781352" sldId="2147484003"/>
              <ac:spMk id="2" creationId="{CE853324-BE5E-AA2A-5A67-4A5A11C672D6}"/>
            </ac:spMkLst>
          </pc:spChg>
        </pc:sldLayoutChg>
        <pc:sldLayoutChg chg="addSp modSp">
          <pc:chgData name="Hans Gelissen (DHL SSC Maastricht)" userId="1afa8510-4eed-4b73-a29e-678838cd8acd" providerId="ADAL" clId="{0D858F43-B312-4597-9BE0-00D4CFEB0FD6}" dt="2023-07-06T12:46:17.671" v="151"/>
          <pc:sldLayoutMkLst>
            <pc:docMk/>
            <pc:sldMasterMk cId="1868986140" sldId="2147483797"/>
            <pc:sldLayoutMk cId="1550887452" sldId="2147484004"/>
          </pc:sldLayoutMkLst>
          <pc:spChg chg="add mod">
            <ac:chgData name="Hans Gelissen (DHL SSC Maastricht)" userId="1afa8510-4eed-4b73-a29e-678838cd8acd" providerId="ADAL" clId="{0D858F43-B312-4597-9BE0-00D4CFEB0FD6}" dt="2023-07-06T12:46:17.671" v="151"/>
            <ac:spMkLst>
              <pc:docMk/>
              <pc:sldMasterMk cId="1868986140" sldId="2147483797"/>
              <pc:sldLayoutMk cId="1550887452" sldId="2147484004"/>
              <ac:spMk id="2" creationId="{EB04B5B5-122E-FA60-7E4C-04D1896A831D}"/>
            </ac:spMkLst>
          </pc:spChg>
        </pc:sldLayoutChg>
        <pc:sldLayoutChg chg="addSp modSp">
          <pc:chgData name="Hans Gelissen (DHL SSC Maastricht)" userId="1afa8510-4eed-4b73-a29e-678838cd8acd" providerId="ADAL" clId="{0D858F43-B312-4597-9BE0-00D4CFEB0FD6}" dt="2023-07-06T12:46:19.950" v="157"/>
          <pc:sldLayoutMkLst>
            <pc:docMk/>
            <pc:sldMasterMk cId="1868986140" sldId="2147483797"/>
            <pc:sldLayoutMk cId="3374177708" sldId="2147484029"/>
          </pc:sldLayoutMkLst>
          <pc:spChg chg="add mod">
            <ac:chgData name="Hans Gelissen (DHL SSC Maastricht)" userId="1afa8510-4eed-4b73-a29e-678838cd8acd" providerId="ADAL" clId="{0D858F43-B312-4597-9BE0-00D4CFEB0FD6}" dt="2023-07-06T12:46:19.950" v="157"/>
            <ac:spMkLst>
              <pc:docMk/>
              <pc:sldMasterMk cId="1868986140" sldId="2147483797"/>
              <pc:sldLayoutMk cId="3374177708" sldId="2147484029"/>
              <ac:spMk id="2" creationId="{5132F22F-C6EF-7EA4-26E0-6B1E7ACFA691}"/>
            </ac:spMkLst>
          </pc:spChg>
        </pc:sldLayoutChg>
      </pc:sldMasterChg>
      <pc:sldMasterChg chg="addSp modSp modSldLayout">
        <pc:chgData name="Hans Gelissen (DHL SSC Maastricht)" userId="1afa8510-4eed-4b73-a29e-678838cd8acd" providerId="ADAL" clId="{0D858F43-B312-4597-9BE0-00D4CFEB0FD6}" dt="2023-07-06T12:46:11.501" v="139"/>
        <pc:sldMasterMkLst>
          <pc:docMk/>
          <pc:sldMasterMk cId="380743489" sldId="2147483798"/>
        </pc:sldMasterMkLst>
        <pc:spChg chg="add mod">
          <ac:chgData name="Hans Gelissen (DHL SSC Maastricht)" userId="1afa8510-4eed-4b73-a29e-678838cd8acd" providerId="ADAL" clId="{0D858F43-B312-4597-9BE0-00D4CFEB0FD6}" dt="2023-07-06T12:44:32.245" v="16"/>
          <ac:spMkLst>
            <pc:docMk/>
            <pc:sldMasterMk cId="380743489" sldId="2147483798"/>
            <ac:spMk id="2" creationId="{D5C02615-BD65-1603-4668-E42D35A722A8}"/>
          </ac:spMkLst>
        </pc:spChg>
        <pc:sldLayoutChg chg="addSp modSp">
          <pc:chgData name="Hans Gelissen (DHL SSC Maastricht)" userId="1afa8510-4eed-4b73-a29e-678838cd8acd" providerId="ADAL" clId="{0D858F43-B312-4597-9BE0-00D4CFEB0FD6}" dt="2023-07-06T12:46:02.580" v="121"/>
          <pc:sldLayoutMkLst>
            <pc:docMk/>
            <pc:sldMasterMk cId="380743489" sldId="2147483798"/>
            <pc:sldLayoutMk cId="3551274112" sldId="2147483811"/>
          </pc:sldLayoutMkLst>
          <pc:spChg chg="add mod">
            <ac:chgData name="Hans Gelissen (DHL SSC Maastricht)" userId="1afa8510-4eed-4b73-a29e-678838cd8acd" providerId="ADAL" clId="{0D858F43-B312-4597-9BE0-00D4CFEB0FD6}" dt="2023-07-06T12:46:02.580" v="121"/>
            <ac:spMkLst>
              <pc:docMk/>
              <pc:sldMasterMk cId="380743489" sldId="2147483798"/>
              <pc:sldLayoutMk cId="3551274112" sldId="2147483811"/>
              <ac:spMk id="3" creationId="{9B1B9C21-0388-0F5E-22EC-5B74DD1F9ED4}"/>
            </ac:spMkLst>
          </pc:spChg>
        </pc:sldLayoutChg>
        <pc:sldLayoutChg chg="addSp modSp">
          <pc:chgData name="Hans Gelissen (DHL SSC Maastricht)" userId="1afa8510-4eed-4b73-a29e-678838cd8acd" providerId="ADAL" clId="{0D858F43-B312-4597-9BE0-00D4CFEB0FD6}" dt="2023-07-06T12:46:02.981" v="122"/>
          <pc:sldLayoutMkLst>
            <pc:docMk/>
            <pc:sldMasterMk cId="380743489" sldId="2147483798"/>
            <pc:sldLayoutMk cId="1975890743" sldId="2147483812"/>
          </pc:sldLayoutMkLst>
          <pc:spChg chg="add mod">
            <ac:chgData name="Hans Gelissen (DHL SSC Maastricht)" userId="1afa8510-4eed-4b73-a29e-678838cd8acd" providerId="ADAL" clId="{0D858F43-B312-4597-9BE0-00D4CFEB0FD6}" dt="2023-07-06T12:46:02.981" v="122"/>
            <ac:spMkLst>
              <pc:docMk/>
              <pc:sldMasterMk cId="380743489" sldId="2147483798"/>
              <pc:sldLayoutMk cId="1975890743" sldId="2147483812"/>
              <ac:spMk id="3" creationId="{85BD6B8A-6ECD-8743-9A25-46DD73150D6B}"/>
            </ac:spMkLst>
          </pc:spChg>
        </pc:sldLayoutChg>
        <pc:sldLayoutChg chg="addSp modSp">
          <pc:chgData name="Hans Gelissen (DHL SSC Maastricht)" userId="1afa8510-4eed-4b73-a29e-678838cd8acd" providerId="ADAL" clId="{0D858F43-B312-4597-9BE0-00D4CFEB0FD6}" dt="2023-07-06T12:46:11.501" v="139"/>
          <pc:sldLayoutMkLst>
            <pc:docMk/>
            <pc:sldMasterMk cId="380743489" sldId="2147483798"/>
            <pc:sldLayoutMk cId="718631429" sldId="2147483813"/>
          </pc:sldLayoutMkLst>
          <pc:spChg chg="add mod">
            <ac:chgData name="Hans Gelissen (DHL SSC Maastricht)" userId="1afa8510-4eed-4b73-a29e-678838cd8acd" providerId="ADAL" clId="{0D858F43-B312-4597-9BE0-00D4CFEB0FD6}" dt="2023-07-06T12:46:11.501" v="139"/>
            <ac:spMkLst>
              <pc:docMk/>
              <pc:sldMasterMk cId="380743489" sldId="2147483798"/>
              <pc:sldLayoutMk cId="718631429" sldId="2147483813"/>
              <ac:spMk id="3" creationId="{934FCD97-F611-AA7A-5E05-2CE3DCB296C6}"/>
            </ac:spMkLst>
          </pc:spChg>
        </pc:sldLayoutChg>
        <pc:sldLayoutChg chg="addSp modSp">
          <pc:chgData name="Hans Gelissen (DHL SSC Maastricht)" userId="1afa8510-4eed-4b73-a29e-678838cd8acd" providerId="ADAL" clId="{0D858F43-B312-4597-9BE0-00D4CFEB0FD6}" dt="2023-07-06T12:46:04.173" v="124"/>
          <pc:sldLayoutMkLst>
            <pc:docMk/>
            <pc:sldMasterMk cId="380743489" sldId="2147483798"/>
            <pc:sldLayoutMk cId="1447749584" sldId="2147483858"/>
          </pc:sldLayoutMkLst>
          <pc:spChg chg="add mod">
            <ac:chgData name="Hans Gelissen (DHL SSC Maastricht)" userId="1afa8510-4eed-4b73-a29e-678838cd8acd" providerId="ADAL" clId="{0D858F43-B312-4597-9BE0-00D4CFEB0FD6}" dt="2023-07-06T12:46:04.173" v="124"/>
            <ac:spMkLst>
              <pc:docMk/>
              <pc:sldMasterMk cId="380743489" sldId="2147483798"/>
              <pc:sldLayoutMk cId="1447749584" sldId="2147483858"/>
              <ac:spMk id="3" creationId="{D7FB119E-ACB3-825A-0746-4495C50518B6}"/>
            </ac:spMkLst>
          </pc:spChg>
        </pc:sldLayoutChg>
        <pc:sldLayoutChg chg="addSp modSp">
          <pc:chgData name="Hans Gelissen (DHL SSC Maastricht)" userId="1afa8510-4eed-4b73-a29e-678838cd8acd" providerId="ADAL" clId="{0D858F43-B312-4597-9BE0-00D4CFEB0FD6}" dt="2023-07-06T12:46:04.796" v="125"/>
          <pc:sldLayoutMkLst>
            <pc:docMk/>
            <pc:sldMasterMk cId="380743489" sldId="2147483798"/>
            <pc:sldLayoutMk cId="3770817431" sldId="2147483859"/>
          </pc:sldLayoutMkLst>
          <pc:spChg chg="add mod">
            <ac:chgData name="Hans Gelissen (DHL SSC Maastricht)" userId="1afa8510-4eed-4b73-a29e-678838cd8acd" providerId="ADAL" clId="{0D858F43-B312-4597-9BE0-00D4CFEB0FD6}" dt="2023-07-06T12:46:04.796" v="125"/>
            <ac:spMkLst>
              <pc:docMk/>
              <pc:sldMasterMk cId="380743489" sldId="2147483798"/>
              <pc:sldLayoutMk cId="3770817431" sldId="2147483859"/>
              <ac:spMk id="3" creationId="{3F911065-D674-7F28-196D-20ECCD6CC8A5}"/>
            </ac:spMkLst>
          </pc:spChg>
        </pc:sldLayoutChg>
        <pc:sldLayoutChg chg="addSp modSp">
          <pc:chgData name="Hans Gelissen (DHL SSC Maastricht)" userId="1afa8510-4eed-4b73-a29e-678838cd8acd" providerId="ADAL" clId="{0D858F43-B312-4597-9BE0-00D4CFEB0FD6}" dt="2023-07-06T12:46:05.451" v="126"/>
          <pc:sldLayoutMkLst>
            <pc:docMk/>
            <pc:sldMasterMk cId="380743489" sldId="2147483798"/>
            <pc:sldLayoutMk cId="3975550019" sldId="2147483860"/>
          </pc:sldLayoutMkLst>
          <pc:spChg chg="add mod">
            <ac:chgData name="Hans Gelissen (DHL SSC Maastricht)" userId="1afa8510-4eed-4b73-a29e-678838cd8acd" providerId="ADAL" clId="{0D858F43-B312-4597-9BE0-00D4CFEB0FD6}" dt="2023-07-06T12:46:05.451" v="126"/>
            <ac:spMkLst>
              <pc:docMk/>
              <pc:sldMasterMk cId="380743489" sldId="2147483798"/>
              <pc:sldLayoutMk cId="3975550019" sldId="2147483860"/>
              <ac:spMk id="3" creationId="{E039CD2D-3E34-DC97-01CC-6FCB38A92EA0}"/>
            </ac:spMkLst>
          </pc:spChg>
        </pc:sldLayoutChg>
        <pc:sldLayoutChg chg="addSp modSp">
          <pc:chgData name="Hans Gelissen (DHL SSC Maastricht)" userId="1afa8510-4eed-4b73-a29e-678838cd8acd" providerId="ADAL" clId="{0D858F43-B312-4597-9BE0-00D4CFEB0FD6}" dt="2023-07-06T12:46:03.414" v="123"/>
          <pc:sldLayoutMkLst>
            <pc:docMk/>
            <pc:sldMasterMk cId="380743489" sldId="2147483798"/>
            <pc:sldLayoutMk cId="2196533840" sldId="2147483861"/>
          </pc:sldLayoutMkLst>
          <pc:spChg chg="add mod">
            <ac:chgData name="Hans Gelissen (DHL SSC Maastricht)" userId="1afa8510-4eed-4b73-a29e-678838cd8acd" providerId="ADAL" clId="{0D858F43-B312-4597-9BE0-00D4CFEB0FD6}" dt="2023-07-06T12:46:03.414" v="123"/>
            <ac:spMkLst>
              <pc:docMk/>
              <pc:sldMasterMk cId="380743489" sldId="2147483798"/>
              <pc:sldLayoutMk cId="2196533840" sldId="2147483861"/>
              <ac:spMk id="3" creationId="{7B8D6674-30B8-5D6A-3D95-EB8903960D7F}"/>
            </ac:spMkLst>
          </pc:spChg>
        </pc:sldLayoutChg>
        <pc:sldLayoutChg chg="addSp modSp">
          <pc:chgData name="Hans Gelissen (DHL SSC Maastricht)" userId="1afa8510-4eed-4b73-a29e-678838cd8acd" providerId="ADAL" clId="{0D858F43-B312-4597-9BE0-00D4CFEB0FD6}" dt="2023-07-06T12:46:05.794" v="127"/>
          <pc:sldLayoutMkLst>
            <pc:docMk/>
            <pc:sldMasterMk cId="380743489" sldId="2147483798"/>
            <pc:sldLayoutMk cId="2558172010" sldId="2147483910"/>
          </pc:sldLayoutMkLst>
          <pc:spChg chg="add mod">
            <ac:chgData name="Hans Gelissen (DHL SSC Maastricht)" userId="1afa8510-4eed-4b73-a29e-678838cd8acd" providerId="ADAL" clId="{0D858F43-B312-4597-9BE0-00D4CFEB0FD6}" dt="2023-07-06T12:46:05.794" v="127"/>
            <ac:spMkLst>
              <pc:docMk/>
              <pc:sldMasterMk cId="380743489" sldId="2147483798"/>
              <pc:sldLayoutMk cId="2558172010" sldId="2147483910"/>
              <ac:spMk id="3" creationId="{60E22D5D-6E84-1DEE-AF9B-7D1B5F09F29B}"/>
            </ac:spMkLst>
          </pc:spChg>
        </pc:sldLayoutChg>
        <pc:sldLayoutChg chg="addSp modSp">
          <pc:chgData name="Hans Gelissen (DHL SSC Maastricht)" userId="1afa8510-4eed-4b73-a29e-678838cd8acd" providerId="ADAL" clId="{0D858F43-B312-4597-9BE0-00D4CFEB0FD6}" dt="2023-07-06T12:46:06.245" v="128"/>
          <pc:sldLayoutMkLst>
            <pc:docMk/>
            <pc:sldMasterMk cId="380743489" sldId="2147483798"/>
            <pc:sldLayoutMk cId="185021961" sldId="2147483911"/>
          </pc:sldLayoutMkLst>
          <pc:spChg chg="add mod">
            <ac:chgData name="Hans Gelissen (DHL SSC Maastricht)" userId="1afa8510-4eed-4b73-a29e-678838cd8acd" providerId="ADAL" clId="{0D858F43-B312-4597-9BE0-00D4CFEB0FD6}" dt="2023-07-06T12:46:06.245" v="128"/>
            <ac:spMkLst>
              <pc:docMk/>
              <pc:sldMasterMk cId="380743489" sldId="2147483798"/>
              <pc:sldLayoutMk cId="185021961" sldId="2147483911"/>
              <ac:spMk id="3" creationId="{B47AF181-926A-17D7-995C-072FDA86E08A}"/>
            </ac:spMkLst>
          </pc:spChg>
        </pc:sldLayoutChg>
        <pc:sldLayoutChg chg="addSp modSp">
          <pc:chgData name="Hans Gelissen (DHL SSC Maastricht)" userId="1afa8510-4eed-4b73-a29e-678838cd8acd" providerId="ADAL" clId="{0D858F43-B312-4597-9BE0-00D4CFEB0FD6}" dt="2023-07-06T12:46:06.745" v="129"/>
          <pc:sldLayoutMkLst>
            <pc:docMk/>
            <pc:sldMasterMk cId="380743489" sldId="2147483798"/>
            <pc:sldLayoutMk cId="1294134225" sldId="2147483912"/>
          </pc:sldLayoutMkLst>
          <pc:spChg chg="add mod">
            <ac:chgData name="Hans Gelissen (DHL SSC Maastricht)" userId="1afa8510-4eed-4b73-a29e-678838cd8acd" providerId="ADAL" clId="{0D858F43-B312-4597-9BE0-00D4CFEB0FD6}" dt="2023-07-06T12:46:06.745" v="129"/>
            <ac:spMkLst>
              <pc:docMk/>
              <pc:sldMasterMk cId="380743489" sldId="2147483798"/>
              <pc:sldLayoutMk cId="1294134225" sldId="2147483912"/>
              <ac:spMk id="3" creationId="{27B3D3D8-E56E-2C86-285E-8A1BA7BC140A}"/>
            </ac:spMkLst>
          </pc:spChg>
        </pc:sldLayoutChg>
        <pc:sldLayoutChg chg="addSp modSp">
          <pc:chgData name="Hans Gelissen (DHL SSC Maastricht)" userId="1afa8510-4eed-4b73-a29e-678838cd8acd" providerId="ADAL" clId="{0D858F43-B312-4597-9BE0-00D4CFEB0FD6}" dt="2023-07-06T12:46:07.614" v="130"/>
          <pc:sldLayoutMkLst>
            <pc:docMk/>
            <pc:sldMasterMk cId="380743489" sldId="2147483798"/>
            <pc:sldLayoutMk cId="3605607904" sldId="2147483913"/>
          </pc:sldLayoutMkLst>
          <pc:spChg chg="add mod">
            <ac:chgData name="Hans Gelissen (DHL SSC Maastricht)" userId="1afa8510-4eed-4b73-a29e-678838cd8acd" providerId="ADAL" clId="{0D858F43-B312-4597-9BE0-00D4CFEB0FD6}" dt="2023-07-06T12:46:07.614" v="130"/>
            <ac:spMkLst>
              <pc:docMk/>
              <pc:sldMasterMk cId="380743489" sldId="2147483798"/>
              <pc:sldLayoutMk cId="3605607904" sldId="2147483913"/>
              <ac:spMk id="3" creationId="{42A3CCE6-2AF8-D61E-B8B2-864E58C43BAE}"/>
            </ac:spMkLst>
          </pc:spChg>
        </pc:sldLayoutChg>
        <pc:sldLayoutChg chg="addSp modSp">
          <pc:chgData name="Hans Gelissen (DHL SSC Maastricht)" userId="1afa8510-4eed-4b73-a29e-678838cd8acd" providerId="ADAL" clId="{0D858F43-B312-4597-9BE0-00D4CFEB0FD6}" dt="2023-07-06T12:46:08.133" v="131"/>
          <pc:sldLayoutMkLst>
            <pc:docMk/>
            <pc:sldMasterMk cId="380743489" sldId="2147483798"/>
            <pc:sldLayoutMk cId="3620310099" sldId="2147483981"/>
          </pc:sldLayoutMkLst>
          <pc:spChg chg="add mod">
            <ac:chgData name="Hans Gelissen (DHL SSC Maastricht)" userId="1afa8510-4eed-4b73-a29e-678838cd8acd" providerId="ADAL" clId="{0D858F43-B312-4597-9BE0-00D4CFEB0FD6}" dt="2023-07-06T12:46:08.133" v="131"/>
            <ac:spMkLst>
              <pc:docMk/>
              <pc:sldMasterMk cId="380743489" sldId="2147483798"/>
              <pc:sldLayoutMk cId="3620310099" sldId="2147483981"/>
              <ac:spMk id="3" creationId="{C7708E08-C756-E7D6-B066-13C33EF2F719}"/>
            </ac:spMkLst>
          </pc:spChg>
        </pc:sldLayoutChg>
        <pc:sldLayoutChg chg="addSp modSp">
          <pc:chgData name="Hans Gelissen (DHL SSC Maastricht)" userId="1afa8510-4eed-4b73-a29e-678838cd8acd" providerId="ADAL" clId="{0D858F43-B312-4597-9BE0-00D4CFEB0FD6}" dt="2023-07-06T12:46:08.629" v="132"/>
          <pc:sldLayoutMkLst>
            <pc:docMk/>
            <pc:sldMasterMk cId="380743489" sldId="2147483798"/>
            <pc:sldLayoutMk cId="1179472784" sldId="2147483982"/>
          </pc:sldLayoutMkLst>
          <pc:spChg chg="add mod">
            <ac:chgData name="Hans Gelissen (DHL SSC Maastricht)" userId="1afa8510-4eed-4b73-a29e-678838cd8acd" providerId="ADAL" clId="{0D858F43-B312-4597-9BE0-00D4CFEB0FD6}" dt="2023-07-06T12:46:08.629" v="132"/>
            <ac:spMkLst>
              <pc:docMk/>
              <pc:sldMasterMk cId="380743489" sldId="2147483798"/>
              <pc:sldLayoutMk cId="1179472784" sldId="2147483982"/>
              <ac:spMk id="3" creationId="{AFEDC34F-D8B8-9A54-623B-FACC150DC237}"/>
            </ac:spMkLst>
          </pc:spChg>
        </pc:sldLayoutChg>
        <pc:sldLayoutChg chg="addSp modSp">
          <pc:chgData name="Hans Gelissen (DHL SSC Maastricht)" userId="1afa8510-4eed-4b73-a29e-678838cd8acd" providerId="ADAL" clId="{0D858F43-B312-4597-9BE0-00D4CFEB0FD6}" dt="2023-07-06T12:46:09.036" v="133"/>
          <pc:sldLayoutMkLst>
            <pc:docMk/>
            <pc:sldMasterMk cId="380743489" sldId="2147483798"/>
            <pc:sldLayoutMk cId="743991180" sldId="2147483983"/>
          </pc:sldLayoutMkLst>
          <pc:spChg chg="add mod">
            <ac:chgData name="Hans Gelissen (DHL SSC Maastricht)" userId="1afa8510-4eed-4b73-a29e-678838cd8acd" providerId="ADAL" clId="{0D858F43-B312-4597-9BE0-00D4CFEB0FD6}" dt="2023-07-06T12:46:09.036" v="133"/>
            <ac:spMkLst>
              <pc:docMk/>
              <pc:sldMasterMk cId="380743489" sldId="2147483798"/>
              <pc:sldLayoutMk cId="743991180" sldId="2147483983"/>
              <ac:spMk id="3" creationId="{6E77CB58-4B79-7AF7-29CD-A4BA721406BB}"/>
            </ac:spMkLst>
          </pc:spChg>
        </pc:sldLayoutChg>
        <pc:sldLayoutChg chg="addSp modSp">
          <pc:chgData name="Hans Gelissen (DHL SSC Maastricht)" userId="1afa8510-4eed-4b73-a29e-678838cd8acd" providerId="ADAL" clId="{0D858F43-B312-4597-9BE0-00D4CFEB0FD6}" dt="2023-07-06T12:46:09.448" v="134"/>
          <pc:sldLayoutMkLst>
            <pc:docMk/>
            <pc:sldMasterMk cId="380743489" sldId="2147483798"/>
            <pc:sldLayoutMk cId="3889033995" sldId="2147483984"/>
          </pc:sldLayoutMkLst>
          <pc:spChg chg="add mod">
            <ac:chgData name="Hans Gelissen (DHL SSC Maastricht)" userId="1afa8510-4eed-4b73-a29e-678838cd8acd" providerId="ADAL" clId="{0D858F43-B312-4597-9BE0-00D4CFEB0FD6}" dt="2023-07-06T12:46:09.448" v="134"/>
            <ac:spMkLst>
              <pc:docMk/>
              <pc:sldMasterMk cId="380743489" sldId="2147483798"/>
              <pc:sldLayoutMk cId="3889033995" sldId="2147483984"/>
              <ac:spMk id="3" creationId="{C405CCCB-E86E-1FA7-7E81-63B7F99FB606}"/>
            </ac:spMkLst>
          </pc:spChg>
        </pc:sldLayoutChg>
        <pc:sldLayoutChg chg="addSp modSp">
          <pc:chgData name="Hans Gelissen (DHL SSC Maastricht)" userId="1afa8510-4eed-4b73-a29e-678838cd8acd" providerId="ADAL" clId="{0D858F43-B312-4597-9BE0-00D4CFEB0FD6}" dt="2023-07-06T12:46:09.884" v="135"/>
          <pc:sldLayoutMkLst>
            <pc:docMk/>
            <pc:sldMasterMk cId="380743489" sldId="2147483798"/>
            <pc:sldLayoutMk cId="2170927799" sldId="2147483985"/>
          </pc:sldLayoutMkLst>
          <pc:spChg chg="add mod">
            <ac:chgData name="Hans Gelissen (DHL SSC Maastricht)" userId="1afa8510-4eed-4b73-a29e-678838cd8acd" providerId="ADAL" clId="{0D858F43-B312-4597-9BE0-00D4CFEB0FD6}" dt="2023-07-06T12:46:09.884" v="135"/>
            <ac:spMkLst>
              <pc:docMk/>
              <pc:sldMasterMk cId="380743489" sldId="2147483798"/>
              <pc:sldLayoutMk cId="2170927799" sldId="2147483985"/>
              <ac:spMk id="3" creationId="{4A00D6A3-5708-CC4E-6662-2F88E6A77893}"/>
            </ac:spMkLst>
          </pc:spChg>
        </pc:sldLayoutChg>
        <pc:sldLayoutChg chg="addSp modSp">
          <pc:chgData name="Hans Gelissen (DHL SSC Maastricht)" userId="1afa8510-4eed-4b73-a29e-678838cd8acd" providerId="ADAL" clId="{0D858F43-B312-4597-9BE0-00D4CFEB0FD6}" dt="2023-07-06T12:46:10.267" v="136"/>
          <pc:sldLayoutMkLst>
            <pc:docMk/>
            <pc:sldMasterMk cId="380743489" sldId="2147483798"/>
            <pc:sldLayoutMk cId="853828882" sldId="2147483986"/>
          </pc:sldLayoutMkLst>
          <pc:spChg chg="add mod">
            <ac:chgData name="Hans Gelissen (DHL SSC Maastricht)" userId="1afa8510-4eed-4b73-a29e-678838cd8acd" providerId="ADAL" clId="{0D858F43-B312-4597-9BE0-00D4CFEB0FD6}" dt="2023-07-06T12:46:10.267" v="136"/>
            <ac:spMkLst>
              <pc:docMk/>
              <pc:sldMasterMk cId="380743489" sldId="2147483798"/>
              <pc:sldLayoutMk cId="853828882" sldId="2147483986"/>
              <ac:spMk id="3" creationId="{70FFEBD3-44FA-3AF2-14EA-2AC9626F8558}"/>
            </ac:spMkLst>
          </pc:spChg>
        </pc:sldLayoutChg>
        <pc:sldLayoutChg chg="addSp modSp">
          <pc:chgData name="Hans Gelissen (DHL SSC Maastricht)" userId="1afa8510-4eed-4b73-a29e-678838cd8acd" providerId="ADAL" clId="{0D858F43-B312-4597-9BE0-00D4CFEB0FD6}" dt="2023-07-06T12:46:10.718" v="137"/>
          <pc:sldLayoutMkLst>
            <pc:docMk/>
            <pc:sldMasterMk cId="380743489" sldId="2147483798"/>
            <pc:sldLayoutMk cId="2500544717" sldId="2147483987"/>
          </pc:sldLayoutMkLst>
          <pc:spChg chg="add mod">
            <ac:chgData name="Hans Gelissen (DHL SSC Maastricht)" userId="1afa8510-4eed-4b73-a29e-678838cd8acd" providerId="ADAL" clId="{0D858F43-B312-4597-9BE0-00D4CFEB0FD6}" dt="2023-07-06T12:46:10.718" v="137"/>
            <ac:spMkLst>
              <pc:docMk/>
              <pc:sldMasterMk cId="380743489" sldId="2147483798"/>
              <pc:sldLayoutMk cId="2500544717" sldId="2147483987"/>
              <ac:spMk id="3" creationId="{847F00B0-71C1-23BE-7C36-B3050039836D}"/>
            </ac:spMkLst>
          </pc:spChg>
        </pc:sldLayoutChg>
        <pc:sldLayoutChg chg="addSp modSp">
          <pc:chgData name="Hans Gelissen (DHL SSC Maastricht)" userId="1afa8510-4eed-4b73-a29e-678838cd8acd" providerId="ADAL" clId="{0D858F43-B312-4597-9BE0-00D4CFEB0FD6}" dt="2023-07-06T12:46:11.089" v="138"/>
          <pc:sldLayoutMkLst>
            <pc:docMk/>
            <pc:sldMasterMk cId="380743489" sldId="2147483798"/>
            <pc:sldLayoutMk cId="428352869" sldId="2147483988"/>
          </pc:sldLayoutMkLst>
          <pc:spChg chg="add mod">
            <ac:chgData name="Hans Gelissen (DHL SSC Maastricht)" userId="1afa8510-4eed-4b73-a29e-678838cd8acd" providerId="ADAL" clId="{0D858F43-B312-4597-9BE0-00D4CFEB0FD6}" dt="2023-07-06T12:46:11.089" v="138"/>
            <ac:spMkLst>
              <pc:docMk/>
              <pc:sldMasterMk cId="380743489" sldId="2147483798"/>
              <pc:sldLayoutMk cId="428352869" sldId="2147483988"/>
              <ac:spMk id="3" creationId="{41713FBC-9D3F-7DBA-5384-35A5E7764B9D}"/>
            </ac:spMkLst>
          </pc:spChg>
        </pc:sldLayoutChg>
      </pc:sldMasterChg>
      <pc:sldMasterChg chg="addSp modSp modSldLayout">
        <pc:chgData name="Hans Gelissen (DHL SSC Maastricht)" userId="1afa8510-4eed-4b73-a29e-678838cd8acd" providerId="ADAL" clId="{0D858F43-B312-4597-9BE0-00D4CFEB0FD6}" dt="2023-07-06T12:46:24.190" v="161"/>
        <pc:sldMasterMkLst>
          <pc:docMk/>
          <pc:sldMasterMk cId="452284608" sldId="2147484031"/>
        </pc:sldMasterMkLst>
        <pc:spChg chg="add mod">
          <ac:chgData name="Hans Gelissen (DHL SSC Maastricht)" userId="1afa8510-4eed-4b73-a29e-678838cd8acd" providerId="ADAL" clId="{0D858F43-B312-4597-9BE0-00D4CFEB0FD6}" dt="2023-07-06T12:44:39.660" v="18"/>
          <ac:spMkLst>
            <pc:docMk/>
            <pc:sldMasterMk cId="452284608" sldId="2147484031"/>
            <ac:spMk id="2" creationId="{3223E979-01B8-9FAC-D85E-82192EEAC642}"/>
          </ac:spMkLst>
        </pc:spChg>
        <pc:sldLayoutChg chg="addSp modSp">
          <pc:chgData name="Hans Gelissen (DHL SSC Maastricht)" userId="1afa8510-4eed-4b73-a29e-678838cd8acd" providerId="ADAL" clId="{0D858F43-B312-4597-9BE0-00D4CFEB0FD6}" dt="2023-07-06T12:46:21.824" v="158"/>
          <pc:sldLayoutMkLst>
            <pc:docMk/>
            <pc:sldMasterMk cId="452284608" sldId="2147484031"/>
            <pc:sldLayoutMk cId="2137232494" sldId="2147484032"/>
          </pc:sldLayoutMkLst>
          <pc:spChg chg="add mod">
            <ac:chgData name="Hans Gelissen (DHL SSC Maastricht)" userId="1afa8510-4eed-4b73-a29e-678838cd8acd" providerId="ADAL" clId="{0D858F43-B312-4597-9BE0-00D4CFEB0FD6}" dt="2023-07-06T12:46:21.824" v="158"/>
            <ac:spMkLst>
              <pc:docMk/>
              <pc:sldMasterMk cId="452284608" sldId="2147484031"/>
              <pc:sldLayoutMk cId="2137232494" sldId="2147484032"/>
              <ac:spMk id="2" creationId="{C82BFAC5-D876-C826-E9D9-09FDE1FBFC77}"/>
            </ac:spMkLst>
          </pc:spChg>
        </pc:sldLayoutChg>
        <pc:sldLayoutChg chg="addSp modSp">
          <pc:chgData name="Hans Gelissen (DHL SSC Maastricht)" userId="1afa8510-4eed-4b73-a29e-678838cd8acd" providerId="ADAL" clId="{0D858F43-B312-4597-9BE0-00D4CFEB0FD6}" dt="2023-07-06T12:46:22.152" v="159"/>
          <pc:sldLayoutMkLst>
            <pc:docMk/>
            <pc:sldMasterMk cId="452284608" sldId="2147484031"/>
            <pc:sldLayoutMk cId="2987006883" sldId="2147484040"/>
          </pc:sldLayoutMkLst>
          <pc:spChg chg="add mod">
            <ac:chgData name="Hans Gelissen (DHL SSC Maastricht)" userId="1afa8510-4eed-4b73-a29e-678838cd8acd" providerId="ADAL" clId="{0D858F43-B312-4597-9BE0-00D4CFEB0FD6}" dt="2023-07-06T12:46:22.152" v="159"/>
            <ac:spMkLst>
              <pc:docMk/>
              <pc:sldMasterMk cId="452284608" sldId="2147484031"/>
              <pc:sldLayoutMk cId="2987006883" sldId="2147484040"/>
              <ac:spMk id="2" creationId="{15001EA6-5638-084B-4EF0-3ADFB66472AA}"/>
            </ac:spMkLst>
          </pc:spChg>
        </pc:sldLayoutChg>
        <pc:sldLayoutChg chg="addSp modSp">
          <pc:chgData name="Hans Gelissen (DHL SSC Maastricht)" userId="1afa8510-4eed-4b73-a29e-678838cd8acd" providerId="ADAL" clId="{0D858F43-B312-4597-9BE0-00D4CFEB0FD6}" dt="2023-07-06T12:46:22.431" v="160"/>
          <pc:sldLayoutMkLst>
            <pc:docMk/>
            <pc:sldMasterMk cId="452284608" sldId="2147484031"/>
            <pc:sldLayoutMk cId="570420241" sldId="2147484045"/>
          </pc:sldLayoutMkLst>
          <pc:spChg chg="add mod">
            <ac:chgData name="Hans Gelissen (DHL SSC Maastricht)" userId="1afa8510-4eed-4b73-a29e-678838cd8acd" providerId="ADAL" clId="{0D858F43-B312-4597-9BE0-00D4CFEB0FD6}" dt="2023-07-06T12:46:22.431" v="160"/>
            <ac:spMkLst>
              <pc:docMk/>
              <pc:sldMasterMk cId="452284608" sldId="2147484031"/>
              <pc:sldLayoutMk cId="570420241" sldId="2147484045"/>
              <ac:spMk id="2" creationId="{47905F9A-76FF-FD7A-E344-D9B84954DB5A}"/>
            </ac:spMkLst>
          </pc:spChg>
        </pc:sldLayoutChg>
        <pc:sldLayoutChg chg="addSp modSp">
          <pc:chgData name="Hans Gelissen (DHL SSC Maastricht)" userId="1afa8510-4eed-4b73-a29e-678838cd8acd" providerId="ADAL" clId="{0D858F43-B312-4597-9BE0-00D4CFEB0FD6}" dt="2023-07-06T12:46:24.190" v="161"/>
          <pc:sldLayoutMkLst>
            <pc:docMk/>
            <pc:sldMasterMk cId="452284608" sldId="2147484031"/>
            <pc:sldLayoutMk cId="3972595220" sldId="2147484046"/>
          </pc:sldLayoutMkLst>
          <pc:spChg chg="add mod">
            <ac:chgData name="Hans Gelissen (DHL SSC Maastricht)" userId="1afa8510-4eed-4b73-a29e-678838cd8acd" providerId="ADAL" clId="{0D858F43-B312-4597-9BE0-00D4CFEB0FD6}" dt="2023-07-06T12:46:24.190" v="161"/>
            <ac:spMkLst>
              <pc:docMk/>
              <pc:sldMasterMk cId="452284608" sldId="2147484031"/>
              <pc:sldLayoutMk cId="3972595220" sldId="2147484046"/>
              <ac:spMk id="2" creationId="{7C100346-48DB-5B44-7BFE-69D447ABAEFB}"/>
            </ac:spMkLst>
          </pc:spChg>
        </pc:sldLayoutChg>
      </pc:sldMasterChg>
      <pc:sldMasterChg chg="addSp modSp modSldLayout">
        <pc:chgData name="Hans Gelissen (DHL SSC Maastricht)" userId="1afa8510-4eed-4b73-a29e-678838cd8acd" providerId="ADAL" clId="{0D858F43-B312-4597-9BE0-00D4CFEB0FD6}" dt="2023-07-06T12:45:02.562" v="25"/>
        <pc:sldMasterMkLst>
          <pc:docMk/>
          <pc:sldMasterMk cId="323497015" sldId="2147484033"/>
        </pc:sldMasterMkLst>
        <pc:spChg chg="add mod">
          <ac:chgData name="Hans Gelissen (DHL SSC Maastricht)" userId="1afa8510-4eed-4b73-a29e-678838cd8acd" providerId="ADAL" clId="{0D858F43-B312-4597-9BE0-00D4CFEB0FD6}" dt="2023-07-06T12:44:02.048" v="10"/>
          <ac:spMkLst>
            <pc:docMk/>
            <pc:sldMasterMk cId="323497015" sldId="2147484033"/>
            <ac:spMk id="2" creationId="{3BEF81B3-98D7-72CC-6050-A3C3D9EDAC3E}"/>
          </ac:spMkLst>
        </pc:spChg>
        <pc:sldLayoutChg chg="addSp modSp">
          <pc:chgData name="Hans Gelissen (DHL SSC Maastricht)" userId="1afa8510-4eed-4b73-a29e-678838cd8acd" providerId="ADAL" clId="{0D858F43-B312-4597-9BE0-00D4CFEB0FD6}" dt="2023-07-06T12:45:00.012" v="22"/>
          <pc:sldLayoutMkLst>
            <pc:docMk/>
            <pc:sldMasterMk cId="323497015" sldId="2147484033"/>
            <pc:sldLayoutMk cId="3607588471" sldId="2147484034"/>
          </pc:sldLayoutMkLst>
          <pc:spChg chg="add mod">
            <ac:chgData name="Hans Gelissen (DHL SSC Maastricht)" userId="1afa8510-4eed-4b73-a29e-678838cd8acd" providerId="ADAL" clId="{0D858F43-B312-4597-9BE0-00D4CFEB0FD6}" dt="2023-07-06T12:45:00.012" v="22"/>
            <ac:spMkLst>
              <pc:docMk/>
              <pc:sldMasterMk cId="323497015" sldId="2147484033"/>
              <pc:sldLayoutMk cId="3607588471" sldId="2147484034"/>
              <ac:spMk id="2" creationId="{A8ACC4F4-7C02-FF7D-CF74-33786CE08F5E}"/>
            </ac:spMkLst>
          </pc:spChg>
        </pc:sldLayoutChg>
        <pc:sldLayoutChg chg="addSp modSp">
          <pc:chgData name="Hans Gelissen (DHL SSC Maastricht)" userId="1afa8510-4eed-4b73-a29e-678838cd8acd" providerId="ADAL" clId="{0D858F43-B312-4597-9BE0-00D4CFEB0FD6}" dt="2023-07-06T12:45:02.562" v="25"/>
          <pc:sldLayoutMkLst>
            <pc:docMk/>
            <pc:sldMasterMk cId="323497015" sldId="2147484033"/>
            <pc:sldLayoutMk cId="1454208401" sldId="2147484035"/>
          </pc:sldLayoutMkLst>
          <pc:spChg chg="add mod">
            <ac:chgData name="Hans Gelissen (DHL SSC Maastricht)" userId="1afa8510-4eed-4b73-a29e-678838cd8acd" providerId="ADAL" clId="{0D858F43-B312-4597-9BE0-00D4CFEB0FD6}" dt="2023-07-06T12:45:02.562" v="25"/>
            <ac:spMkLst>
              <pc:docMk/>
              <pc:sldMasterMk cId="323497015" sldId="2147484033"/>
              <pc:sldLayoutMk cId="1454208401" sldId="2147484035"/>
              <ac:spMk id="2" creationId="{F7699F7F-A3F2-3761-E5CD-30B9A140B7F7}"/>
            </ac:spMkLst>
          </pc:spChg>
        </pc:sldLayoutChg>
        <pc:sldLayoutChg chg="addSp modSp">
          <pc:chgData name="Hans Gelissen (DHL SSC Maastricht)" userId="1afa8510-4eed-4b73-a29e-678838cd8acd" providerId="ADAL" clId="{0D858F43-B312-4597-9BE0-00D4CFEB0FD6}" dt="2023-07-06T12:45:01.613" v="23"/>
          <pc:sldLayoutMkLst>
            <pc:docMk/>
            <pc:sldMasterMk cId="323497015" sldId="2147484033"/>
            <pc:sldLayoutMk cId="715467645" sldId="2147484038"/>
          </pc:sldLayoutMkLst>
          <pc:spChg chg="add mod">
            <ac:chgData name="Hans Gelissen (DHL SSC Maastricht)" userId="1afa8510-4eed-4b73-a29e-678838cd8acd" providerId="ADAL" clId="{0D858F43-B312-4597-9BE0-00D4CFEB0FD6}" dt="2023-07-06T12:45:01.613" v="23"/>
            <ac:spMkLst>
              <pc:docMk/>
              <pc:sldMasterMk cId="323497015" sldId="2147484033"/>
              <pc:sldLayoutMk cId="715467645" sldId="2147484038"/>
              <ac:spMk id="5" creationId="{FFAB501B-3335-168E-2333-DFE6547679EB}"/>
            </ac:spMkLst>
          </pc:spChg>
        </pc:sldLayoutChg>
        <pc:sldLayoutChg chg="addSp modSp">
          <pc:chgData name="Hans Gelissen (DHL SSC Maastricht)" userId="1afa8510-4eed-4b73-a29e-678838cd8acd" providerId="ADAL" clId="{0D858F43-B312-4597-9BE0-00D4CFEB0FD6}" dt="2023-07-06T12:45:02.068" v="24"/>
          <pc:sldLayoutMkLst>
            <pc:docMk/>
            <pc:sldMasterMk cId="323497015" sldId="2147484033"/>
            <pc:sldLayoutMk cId="2194012706" sldId="2147484039"/>
          </pc:sldLayoutMkLst>
          <pc:spChg chg="add mod">
            <ac:chgData name="Hans Gelissen (DHL SSC Maastricht)" userId="1afa8510-4eed-4b73-a29e-678838cd8acd" providerId="ADAL" clId="{0D858F43-B312-4597-9BE0-00D4CFEB0FD6}" dt="2023-07-06T12:45:02.068" v="24"/>
            <ac:spMkLst>
              <pc:docMk/>
              <pc:sldMasterMk cId="323497015" sldId="2147484033"/>
              <pc:sldLayoutMk cId="2194012706" sldId="2147484039"/>
              <ac:spMk id="5" creationId="{25326AE7-C33F-518B-A22B-F5AABD44D683}"/>
            </ac:spMkLst>
          </pc:spChg>
        </pc:sldLayoutChg>
      </pc:sldMasterChg>
      <pc:sldMasterChg chg="addSp modSp modSldLayout">
        <pc:chgData name="Hans Gelissen (DHL SSC Maastricht)" userId="1afa8510-4eed-4b73-a29e-678838cd8acd" providerId="ADAL" clId="{0D858F43-B312-4597-9BE0-00D4CFEB0FD6}" dt="2023-07-06T12:46:25.963" v="163"/>
        <pc:sldMasterMkLst>
          <pc:docMk/>
          <pc:sldMasterMk cId="346234790" sldId="2147484036"/>
        </pc:sldMasterMkLst>
        <pc:spChg chg="add mod">
          <ac:chgData name="Hans Gelissen (DHL SSC Maastricht)" userId="1afa8510-4eed-4b73-a29e-678838cd8acd" providerId="ADAL" clId="{0D858F43-B312-4597-9BE0-00D4CFEB0FD6}" dt="2023-07-06T12:44:40.943" v="19"/>
          <ac:spMkLst>
            <pc:docMk/>
            <pc:sldMasterMk cId="346234790" sldId="2147484036"/>
            <ac:spMk id="2" creationId="{D1572056-D901-53CD-008A-897003F8C302}"/>
          </ac:spMkLst>
        </pc:spChg>
        <pc:sldLayoutChg chg="addSp modSp">
          <pc:chgData name="Hans Gelissen (DHL SSC Maastricht)" userId="1afa8510-4eed-4b73-a29e-678838cd8acd" providerId="ADAL" clId="{0D858F43-B312-4597-9BE0-00D4CFEB0FD6}" dt="2023-07-06T12:46:25.471" v="162"/>
          <pc:sldLayoutMkLst>
            <pc:docMk/>
            <pc:sldMasterMk cId="346234790" sldId="2147484036"/>
            <pc:sldLayoutMk cId="3570524635" sldId="2147484037"/>
          </pc:sldLayoutMkLst>
          <pc:spChg chg="add mod">
            <ac:chgData name="Hans Gelissen (DHL SSC Maastricht)" userId="1afa8510-4eed-4b73-a29e-678838cd8acd" providerId="ADAL" clId="{0D858F43-B312-4597-9BE0-00D4CFEB0FD6}" dt="2023-07-06T12:46:25.471" v="162"/>
            <ac:spMkLst>
              <pc:docMk/>
              <pc:sldMasterMk cId="346234790" sldId="2147484036"/>
              <pc:sldLayoutMk cId="3570524635" sldId="2147484037"/>
              <ac:spMk id="2" creationId="{75308783-6137-17A8-2AC5-2E9946FAE08E}"/>
            </ac:spMkLst>
          </pc:spChg>
        </pc:sldLayoutChg>
        <pc:sldLayoutChg chg="addSp modSp">
          <pc:chgData name="Hans Gelissen (DHL SSC Maastricht)" userId="1afa8510-4eed-4b73-a29e-678838cd8acd" providerId="ADAL" clId="{0D858F43-B312-4597-9BE0-00D4CFEB0FD6}" dt="2023-07-06T12:46:25.963" v="163"/>
          <pc:sldLayoutMkLst>
            <pc:docMk/>
            <pc:sldMasterMk cId="346234790" sldId="2147484036"/>
            <pc:sldLayoutMk cId="1475199376" sldId="2147484041"/>
          </pc:sldLayoutMkLst>
          <pc:spChg chg="add mod">
            <ac:chgData name="Hans Gelissen (DHL SSC Maastricht)" userId="1afa8510-4eed-4b73-a29e-678838cd8acd" providerId="ADAL" clId="{0D858F43-B312-4597-9BE0-00D4CFEB0FD6}" dt="2023-07-06T12:46:25.963" v="163"/>
            <ac:spMkLst>
              <pc:docMk/>
              <pc:sldMasterMk cId="346234790" sldId="2147484036"/>
              <pc:sldLayoutMk cId="1475199376" sldId="2147484041"/>
              <ac:spMk id="2" creationId="{F4C4BF29-2849-0E26-C562-0BE7437E4F5D}"/>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79376C-CCB9-470D-957B-31D17B9A9F13}" type="datetimeFigureOut">
              <a:rPr lang="nl-NL" smtClean="0"/>
              <a:t>21-8-2023</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A189C3-052D-4975-A211-2A13C2628026}" type="slidenum">
              <a:rPr lang="nl-NL" smtClean="0"/>
              <a:t>‹#›</a:t>
            </a:fld>
            <a:endParaRPr lang="nl-NL"/>
          </a:p>
        </p:txBody>
      </p:sp>
    </p:spTree>
    <p:extLst>
      <p:ext uri="{BB962C8B-B14F-4D97-AF65-F5344CB8AC3E}">
        <p14:creationId xmlns:p14="http://schemas.microsoft.com/office/powerpoint/2010/main" val="21163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7A189C3-052D-4975-A211-2A13C2628026}" type="slidenum">
              <a:rPr lang="nl-NL" smtClean="0"/>
              <a:t>2</a:t>
            </a:fld>
            <a:endParaRPr lang="nl-NL"/>
          </a:p>
        </p:txBody>
      </p:sp>
    </p:spTree>
    <p:extLst>
      <p:ext uri="{BB962C8B-B14F-4D97-AF65-F5344CB8AC3E}">
        <p14:creationId xmlns:p14="http://schemas.microsoft.com/office/powerpoint/2010/main" val="340121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riefing: 2 minutes</a:t>
            </a:r>
          </a:p>
          <a:p>
            <a:r>
              <a:rPr lang="en-US"/>
              <a:t>Activity: 20 minutes</a:t>
            </a:r>
          </a:p>
          <a:p>
            <a:r>
              <a:rPr lang="en-US"/>
              <a:t>Debrief: 13 minutes</a:t>
            </a:r>
          </a:p>
          <a:p>
            <a:endParaRPr lang="en-US"/>
          </a:p>
          <a:p>
            <a:r>
              <a:rPr lang="en-US"/>
              <a:t>Briefing: Each group works with the same pack of 4 CVs. </a:t>
            </a:r>
            <a:r>
              <a:rPr lang="en-US" b="0" i="0">
                <a:solidFill>
                  <a:srgbClr val="444444"/>
                </a:solidFill>
                <a:effectLst/>
                <a:latin typeface="Calibri" panose="020F0502020204030204" pitchFamily="34" charset="0"/>
              </a:rPr>
              <a:t>They have 20 minutes to choose the best CV based on content. (5 min per CV) Some CV's show too informal language, have mistakes, information that is missing etc. The groups have to explain why they choose these CVs. </a:t>
            </a:r>
          </a:p>
          <a:p>
            <a:endParaRPr lang="en-US" b="0" i="0">
              <a:solidFill>
                <a:srgbClr val="444444"/>
              </a:solidFill>
              <a:effectLst/>
              <a:latin typeface="Calibri" panose="020F0502020204030204" pitchFamily="34" charset="0"/>
            </a:endParaRPr>
          </a:p>
          <a:p>
            <a:r>
              <a:rPr lang="en-US" b="0" i="0">
                <a:solidFill>
                  <a:srgbClr val="444444"/>
                </a:solidFill>
                <a:effectLst/>
                <a:latin typeface="Calibri" panose="020F0502020204030204" pitchFamily="34" charset="0"/>
              </a:rPr>
              <a:t>Debrief: Ask each time a different group, what they thought about a specific CV. Don’t ask them yet which CV they thought was best.</a:t>
            </a:r>
          </a:p>
          <a:p>
            <a:r>
              <a:rPr lang="en-US" b="0" i="0">
                <a:solidFill>
                  <a:srgbClr val="444444"/>
                </a:solidFill>
                <a:effectLst/>
                <a:latin typeface="Calibri" panose="020F0502020204030204" pitchFamily="34" charset="0"/>
              </a:rPr>
              <a:t>E.g. Ask group 1 about the pro’s and con’s of the CV from Samina, (ask the other groups if they have anything to add)</a:t>
            </a:r>
          </a:p>
          <a:p>
            <a:r>
              <a:rPr lang="en-US" b="0" i="0">
                <a:solidFill>
                  <a:srgbClr val="444444"/>
                </a:solidFill>
                <a:effectLst/>
                <a:latin typeface="Calibri" panose="020F0502020204030204" pitchFamily="34" charset="0"/>
              </a:rPr>
              <a:t>Then reveal the slide per CV with the pro’s and con’s.</a:t>
            </a:r>
          </a:p>
          <a:p>
            <a:r>
              <a:rPr lang="en-US" b="0" i="0">
                <a:solidFill>
                  <a:srgbClr val="444444"/>
                </a:solidFill>
                <a:effectLst/>
                <a:latin typeface="Calibri" panose="020F0502020204030204" pitchFamily="34" charset="0"/>
              </a:rPr>
              <a:t>Ask group 2 about the CV from Michael (again ask the other groups if things were missed) and proceed with the other 2 CVs like this.</a:t>
            </a:r>
          </a:p>
          <a:p>
            <a:r>
              <a:rPr lang="en-US" b="0" i="0">
                <a:solidFill>
                  <a:srgbClr val="444444"/>
                </a:solidFill>
                <a:effectLst/>
                <a:latin typeface="Calibri" panose="020F0502020204030204" pitchFamily="34" charset="0"/>
              </a:rPr>
              <a:t>At the end when all the CV’s pro’s and con’s have been discussed, ask per CV which group would have chosen for it and keep the score. Then reveal which would have been the choice of the facilitators.</a:t>
            </a:r>
          </a:p>
          <a:p>
            <a:endParaRPr lang="en-US"/>
          </a:p>
          <a:p>
            <a:endParaRPr lang="en-US"/>
          </a:p>
        </p:txBody>
      </p:sp>
      <p:sp>
        <p:nvSpPr>
          <p:cNvPr id="4" name="Slide Number Placeholder 3"/>
          <p:cNvSpPr>
            <a:spLocks noGrp="1"/>
          </p:cNvSpPr>
          <p:nvPr>
            <p:ph type="sldNum" sz="quarter" idx="5"/>
          </p:nvPr>
        </p:nvSpPr>
        <p:spPr/>
        <p:txBody>
          <a:bodyPr/>
          <a:lstStyle/>
          <a:p>
            <a:fld id="{17A189C3-052D-4975-A211-2A13C2628026}" type="slidenum">
              <a:rPr lang="nl-NL" smtClean="0"/>
              <a:t>3</a:t>
            </a:fld>
            <a:endParaRPr lang="nl-NL"/>
          </a:p>
        </p:txBody>
      </p:sp>
    </p:spTree>
    <p:extLst>
      <p:ext uri="{BB962C8B-B14F-4D97-AF65-F5344CB8AC3E}">
        <p14:creationId xmlns:p14="http://schemas.microsoft.com/office/powerpoint/2010/main" val="884054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n individual activity. Every attendee writes about their own achievements and skills, however they can exchange ideas with their “neighbors” </a:t>
            </a:r>
          </a:p>
          <a:p>
            <a:endParaRPr lang="en-US"/>
          </a:p>
          <a:p>
            <a:r>
              <a:rPr lang="en-US"/>
              <a:t>Briefing: 1 minute</a:t>
            </a:r>
          </a:p>
          <a:p>
            <a:r>
              <a:rPr lang="en-US"/>
              <a:t>Activity: 10 minutes</a:t>
            </a:r>
          </a:p>
          <a:p>
            <a:r>
              <a:rPr lang="en-US"/>
              <a:t>Debrief : 5 minutes</a:t>
            </a:r>
          </a:p>
          <a:p>
            <a:endParaRPr lang="en-US"/>
          </a:p>
          <a:p>
            <a:r>
              <a:rPr lang="en-US"/>
              <a:t>Debrief: Ask five volunteers if they would like to share an achievement and the respective skills with the group.</a:t>
            </a:r>
          </a:p>
        </p:txBody>
      </p:sp>
      <p:sp>
        <p:nvSpPr>
          <p:cNvPr id="4" name="Slide Number Placeholder 3"/>
          <p:cNvSpPr>
            <a:spLocks noGrp="1"/>
          </p:cNvSpPr>
          <p:nvPr>
            <p:ph type="sldNum" sz="quarter" idx="5"/>
          </p:nvPr>
        </p:nvSpPr>
        <p:spPr/>
        <p:txBody>
          <a:bodyPr/>
          <a:lstStyle/>
          <a:p>
            <a:fld id="{17A189C3-052D-4975-A211-2A13C2628026}" type="slidenum">
              <a:rPr lang="nl-NL" smtClean="0"/>
              <a:t>8</a:t>
            </a:fld>
            <a:endParaRPr lang="nl-NL"/>
          </a:p>
        </p:txBody>
      </p:sp>
    </p:spTree>
    <p:extLst>
      <p:ext uri="{BB962C8B-B14F-4D97-AF65-F5344CB8AC3E}">
        <p14:creationId xmlns:p14="http://schemas.microsoft.com/office/powerpoint/2010/main" val="24079121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444444"/>
                </a:solidFill>
                <a:effectLst/>
                <a:latin typeface="Calibri" panose="020F0502020204030204" pitchFamily="34" charset="0"/>
              </a:rPr>
              <a:t>Tell: </a:t>
            </a:r>
          </a:p>
          <a:p>
            <a:pPr algn="l"/>
            <a:r>
              <a:rPr lang="en-US" b="0" i="0">
                <a:solidFill>
                  <a:srgbClr val="444444"/>
                </a:solidFill>
                <a:effectLst/>
                <a:latin typeface="Calibri" panose="020F0502020204030204" pitchFamily="34" charset="0"/>
              </a:rPr>
              <a:t>In the next activity we would like you to list your achievements so far, then identify the skills that belong to that. </a:t>
            </a:r>
          </a:p>
          <a:p>
            <a:pPr algn="l"/>
            <a:r>
              <a:rPr lang="en-US" b="0" i="0">
                <a:solidFill>
                  <a:srgbClr val="444444"/>
                </a:solidFill>
                <a:effectLst/>
                <a:latin typeface="Calibri" panose="020F0502020204030204" pitchFamily="34" charset="0"/>
              </a:rPr>
              <a:t>E.g. coaching the football team -&gt; enthusiast, motivating</a:t>
            </a:r>
          </a:p>
          <a:p>
            <a:pPr algn="l"/>
            <a:endParaRPr lang="en-US" b="0" i="0">
              <a:solidFill>
                <a:srgbClr val="444444"/>
              </a:solidFill>
              <a:effectLst/>
              <a:latin typeface="Calibri" panose="020F0502020204030204" pitchFamily="34" charset="0"/>
            </a:endParaRPr>
          </a:p>
          <a:p>
            <a:pPr algn="l"/>
            <a:r>
              <a:rPr lang="en-US" b="0" i="0">
                <a:solidFill>
                  <a:srgbClr val="444444"/>
                </a:solidFill>
                <a:effectLst/>
                <a:latin typeface="Calibri" panose="020F0502020204030204" pitchFamily="34" charset="0"/>
              </a:rPr>
              <a:t>Tell: Achievements can be work experience, hobbies, volunteering etc. Work experience is not a requirement to be able to do this activity.</a:t>
            </a:r>
          </a:p>
          <a:p>
            <a:pPr algn="l"/>
            <a:endParaRPr lang="en-US" b="0" i="0">
              <a:solidFill>
                <a:srgbClr val="444444"/>
              </a:solidFill>
              <a:effectLst/>
              <a:latin typeface="Calibri" panose="020F0502020204030204" pitchFamily="34" charset="0"/>
            </a:endParaRPr>
          </a:p>
          <a:p>
            <a:pPr algn="l"/>
            <a:r>
              <a:rPr lang="en-US" b="0" i="0">
                <a:solidFill>
                  <a:srgbClr val="444444"/>
                </a:solidFill>
                <a:effectLst/>
                <a:latin typeface="Calibri" panose="020F0502020204030204" pitchFamily="34" charset="0"/>
              </a:rPr>
              <a:t>Debrief: Students are voluntarily asked to share their achievements and skills they noted and get feedback from class trainer to get a “ best Practice” example. </a:t>
            </a:r>
          </a:p>
          <a:p>
            <a:endParaRPr lang="en-US"/>
          </a:p>
        </p:txBody>
      </p:sp>
      <p:sp>
        <p:nvSpPr>
          <p:cNvPr id="4" name="Slide Number Placeholder 3"/>
          <p:cNvSpPr>
            <a:spLocks noGrp="1"/>
          </p:cNvSpPr>
          <p:nvPr>
            <p:ph type="sldNum" sz="quarter" idx="5"/>
          </p:nvPr>
        </p:nvSpPr>
        <p:spPr/>
        <p:txBody>
          <a:bodyPr/>
          <a:lstStyle/>
          <a:p>
            <a:fld id="{17A189C3-052D-4975-A211-2A13C2628026}" type="slidenum">
              <a:rPr lang="nl-NL" smtClean="0"/>
              <a:t>9</a:t>
            </a:fld>
            <a:endParaRPr lang="nl-NL"/>
          </a:p>
        </p:txBody>
      </p:sp>
    </p:spTree>
    <p:extLst>
      <p:ext uri="{BB962C8B-B14F-4D97-AF65-F5344CB8AC3E}">
        <p14:creationId xmlns:p14="http://schemas.microsoft.com/office/powerpoint/2010/main" val="3558939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444444"/>
                </a:solidFill>
                <a:effectLst/>
                <a:latin typeface="Calibri" panose="020F0502020204030204" pitchFamily="34" charset="0"/>
              </a:rPr>
              <a:t>Tell: </a:t>
            </a:r>
          </a:p>
          <a:p>
            <a:pPr algn="l"/>
            <a:r>
              <a:rPr lang="en-US" b="0" i="0">
                <a:solidFill>
                  <a:srgbClr val="444444"/>
                </a:solidFill>
                <a:effectLst/>
                <a:latin typeface="Calibri" panose="020F0502020204030204" pitchFamily="34" charset="0"/>
              </a:rPr>
              <a:t>In the next activity we would like you to list your achievements so far, then identify the skills that belong to that. </a:t>
            </a:r>
          </a:p>
          <a:p>
            <a:pPr algn="l"/>
            <a:r>
              <a:rPr lang="en-US" b="0" i="0">
                <a:solidFill>
                  <a:srgbClr val="444444"/>
                </a:solidFill>
                <a:effectLst/>
                <a:latin typeface="Calibri" panose="020F0502020204030204" pitchFamily="34" charset="0"/>
              </a:rPr>
              <a:t>E.g. coaching the football team -&gt; enthusiast, motivating</a:t>
            </a:r>
          </a:p>
          <a:p>
            <a:pPr algn="l"/>
            <a:endParaRPr lang="en-US" b="0" i="0">
              <a:solidFill>
                <a:srgbClr val="444444"/>
              </a:solidFill>
              <a:effectLst/>
              <a:latin typeface="Calibri" panose="020F0502020204030204" pitchFamily="34" charset="0"/>
            </a:endParaRPr>
          </a:p>
          <a:p>
            <a:pPr algn="l"/>
            <a:r>
              <a:rPr lang="en-US" b="0" i="0">
                <a:solidFill>
                  <a:srgbClr val="444444"/>
                </a:solidFill>
                <a:effectLst/>
                <a:latin typeface="Calibri" panose="020F0502020204030204" pitchFamily="34" charset="0"/>
              </a:rPr>
              <a:t>Tell: Achievements can be work experience, hobbies, volunteering etc. Work experience is not a requirement to be able to do this activity.</a:t>
            </a:r>
          </a:p>
          <a:p>
            <a:pPr algn="l"/>
            <a:endParaRPr lang="en-US" b="0" i="0">
              <a:solidFill>
                <a:srgbClr val="444444"/>
              </a:solidFill>
              <a:effectLst/>
              <a:latin typeface="Calibri" panose="020F0502020204030204" pitchFamily="34" charset="0"/>
            </a:endParaRPr>
          </a:p>
          <a:p>
            <a:pPr algn="l"/>
            <a:r>
              <a:rPr lang="en-US" b="0" i="0">
                <a:solidFill>
                  <a:srgbClr val="444444"/>
                </a:solidFill>
                <a:effectLst/>
                <a:latin typeface="Calibri" panose="020F0502020204030204" pitchFamily="34" charset="0"/>
              </a:rPr>
              <a:t>Debrief: Students are voluntarily asked to share their achievements and skills they noted and get feedback from class trainer to get a “ best Practice” example. </a:t>
            </a:r>
          </a:p>
          <a:p>
            <a:endParaRPr lang="en-US"/>
          </a:p>
        </p:txBody>
      </p:sp>
      <p:sp>
        <p:nvSpPr>
          <p:cNvPr id="4" name="Slide Number Placeholder 3"/>
          <p:cNvSpPr>
            <a:spLocks noGrp="1"/>
          </p:cNvSpPr>
          <p:nvPr>
            <p:ph type="sldNum" sz="quarter" idx="5"/>
          </p:nvPr>
        </p:nvSpPr>
        <p:spPr/>
        <p:txBody>
          <a:bodyPr/>
          <a:lstStyle/>
          <a:p>
            <a:fld id="{17A189C3-052D-4975-A211-2A13C2628026}" type="slidenum">
              <a:rPr lang="nl-NL" smtClean="0"/>
              <a:t>10</a:t>
            </a:fld>
            <a:endParaRPr lang="nl-NL"/>
          </a:p>
        </p:txBody>
      </p:sp>
    </p:spTree>
    <p:extLst>
      <p:ext uri="{BB962C8B-B14F-4D97-AF65-F5344CB8AC3E}">
        <p14:creationId xmlns:p14="http://schemas.microsoft.com/office/powerpoint/2010/main" val="2295477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n individual activity, however attendees can exchange ideas with their “</a:t>
            </a:r>
            <a:r>
              <a:rPr lang="en-US" err="1"/>
              <a:t>neighbours</a:t>
            </a:r>
            <a:r>
              <a:rPr lang="en-US"/>
              <a:t>” </a:t>
            </a:r>
          </a:p>
          <a:p>
            <a:endParaRPr lang="en-US"/>
          </a:p>
          <a:p>
            <a:r>
              <a:rPr lang="en-US"/>
              <a:t>Briefing: use your workbook and write down as much content as possible. </a:t>
            </a:r>
          </a:p>
          <a:p>
            <a:r>
              <a:rPr lang="en-US"/>
              <a:t>Try to apply the XYZ method to reformulate the achievements you noted earlier.</a:t>
            </a:r>
          </a:p>
          <a:p>
            <a:endParaRPr lang="en-US"/>
          </a:p>
          <a:p>
            <a:r>
              <a:rPr lang="en-US"/>
              <a:t>Briefing: 3 minutes</a:t>
            </a:r>
          </a:p>
          <a:p>
            <a:r>
              <a:rPr lang="en-US"/>
              <a:t>Activity: 30 minutes</a:t>
            </a:r>
          </a:p>
          <a:p>
            <a:r>
              <a:rPr lang="en-US"/>
              <a:t>Debrief : 5 minutes</a:t>
            </a:r>
          </a:p>
          <a:p>
            <a:endParaRPr lang="en-US"/>
          </a:p>
          <a:p>
            <a:r>
              <a:rPr lang="en-US" err="1"/>
              <a:t>Trainernote</a:t>
            </a:r>
            <a:r>
              <a:rPr lang="en-US"/>
              <a:t>: in their workbook the attendees find a section for each element of the CV. </a:t>
            </a:r>
          </a:p>
          <a:p>
            <a:endParaRPr lang="en-US"/>
          </a:p>
          <a:p>
            <a:r>
              <a:rPr lang="en-US"/>
              <a:t>Debrief: 3 suggestions: (please let me know your preference)</a:t>
            </a:r>
          </a:p>
          <a:p>
            <a:r>
              <a:rPr lang="en-US"/>
              <a:t>Students exchange CV's in pairs and they give each other feedback, supported by the volunteers.</a:t>
            </a:r>
          </a:p>
          <a:p>
            <a:r>
              <a:rPr lang="en-US"/>
              <a:t>Students are voluntarily asked to share their achievements and skills they noted.</a:t>
            </a:r>
          </a:p>
          <a:p>
            <a:r>
              <a:rPr lang="en-US"/>
              <a:t>Students are advised to take part in a mentoring program to get personal feedback on their CV’s.</a:t>
            </a:r>
          </a:p>
          <a:p>
            <a:endParaRPr lang="en-US"/>
          </a:p>
          <a:p>
            <a:endParaRPr lang="en-US"/>
          </a:p>
          <a:p>
            <a:r>
              <a:rPr lang="en-US"/>
              <a:t>Ask: Is this the CV the only document you would send to a future employee?</a:t>
            </a:r>
          </a:p>
          <a:p>
            <a:r>
              <a:rPr lang="en-US"/>
              <a:t>Answer: Some companies require a cover letter. </a:t>
            </a:r>
          </a:p>
          <a:p>
            <a:r>
              <a:rPr lang="en-US" b="0" i="0">
                <a:solidFill>
                  <a:srgbClr val="2D2D2D"/>
                </a:solidFill>
                <a:effectLst/>
                <a:latin typeface="Noto Sans" panose="020B0502040504020204" pitchFamily="34" charset="0"/>
              </a:rPr>
              <a:t>A cover letter is a one-page document you send with your resume that provides additional information about skills and experiences related to the job you're pursuing. It typically includes three to four short paragraphs. A cover letter is important because it serves as the first chance for the recruiter to see the qualifications that make you a good fit for the position. Not every job application requires a cover letter, but it's a good idea to submit one. The extra effort not only shows the employer that you're serious about the job, but the letter differentiates you from other candidates.</a:t>
            </a:r>
          </a:p>
          <a:p>
            <a:endParaRPr lang="en-US" b="0" i="0">
              <a:solidFill>
                <a:srgbClr val="2D2D2D"/>
              </a:solidFill>
              <a:effectLst/>
              <a:latin typeface="Noto Sans" panose="020B0502040504020204" pitchFamily="34" charset="0"/>
            </a:endParaRPr>
          </a:p>
          <a:p>
            <a:r>
              <a:rPr lang="en-US"/>
              <a:t>Source: https://www.indeed.com/career-advice/resumes-cover-letters/what-is-a-cover-letter</a:t>
            </a:r>
          </a:p>
        </p:txBody>
      </p:sp>
      <p:sp>
        <p:nvSpPr>
          <p:cNvPr id="4" name="Slide Number Placeholder 3"/>
          <p:cNvSpPr>
            <a:spLocks noGrp="1"/>
          </p:cNvSpPr>
          <p:nvPr>
            <p:ph type="sldNum" sz="quarter" idx="5"/>
          </p:nvPr>
        </p:nvSpPr>
        <p:spPr/>
        <p:txBody>
          <a:bodyPr/>
          <a:lstStyle/>
          <a:p>
            <a:fld id="{17A189C3-052D-4975-A211-2A13C2628026}" type="slidenum">
              <a:rPr lang="nl-NL" smtClean="0"/>
              <a:t>11</a:t>
            </a:fld>
            <a:endParaRPr lang="nl-NL"/>
          </a:p>
        </p:txBody>
      </p:sp>
    </p:spTree>
    <p:extLst>
      <p:ext uri="{BB962C8B-B14F-4D97-AF65-F5344CB8AC3E}">
        <p14:creationId xmlns:p14="http://schemas.microsoft.com/office/powerpoint/2010/main" val="1171592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ison bending slide says not required is: Number, gender or age of any dependents (not sure what that means though)</a:t>
            </a:r>
          </a:p>
        </p:txBody>
      </p:sp>
      <p:sp>
        <p:nvSpPr>
          <p:cNvPr id="4" name="Slide Number Placeholder 3"/>
          <p:cNvSpPr>
            <a:spLocks noGrp="1"/>
          </p:cNvSpPr>
          <p:nvPr>
            <p:ph type="sldNum" sz="quarter" idx="5"/>
          </p:nvPr>
        </p:nvSpPr>
        <p:spPr/>
        <p:txBody>
          <a:bodyPr/>
          <a:lstStyle/>
          <a:p>
            <a:fld id="{17A189C3-052D-4975-A211-2A13C2628026}" type="slidenum">
              <a:rPr lang="nl-NL" smtClean="0"/>
              <a:t>12</a:t>
            </a:fld>
            <a:endParaRPr lang="nl-NL"/>
          </a:p>
        </p:txBody>
      </p:sp>
    </p:spTree>
    <p:extLst>
      <p:ext uri="{BB962C8B-B14F-4D97-AF65-F5344CB8AC3E}">
        <p14:creationId xmlns:p14="http://schemas.microsoft.com/office/powerpoint/2010/main" val="526262505"/>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9.wdp"/></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0.wdp"/></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1.wdp"/></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4.pn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2.wdp"/></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0.jpeg"/><Relationship Id="rId4" Type="http://schemas.openxmlformats.org/officeDocument/2006/relationships/image" Target="../media/image159.png"/></Relationships>
</file>

<file path=ppt/slideLayouts/_rels/slideLayout157.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1.jpeg"/><Relationship Id="rId4" Type="http://schemas.openxmlformats.org/officeDocument/2006/relationships/image" Target="../media/image159.png"/></Relationships>
</file>

<file path=ppt/slideLayouts/_rels/slideLayout158.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2.jpeg"/><Relationship Id="rId4" Type="http://schemas.openxmlformats.org/officeDocument/2006/relationships/image" Target="../media/image159.png"/></Relationships>
</file>

<file path=ppt/slideLayouts/_rels/slideLayout159.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3.jpeg"/><Relationship Id="rId4" Type="http://schemas.openxmlformats.org/officeDocument/2006/relationships/image" Target="../media/image15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3.wdp"/></Relationships>
</file>

<file path=ppt/slideLayouts/_rels/slideLayout160.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4.jpeg"/><Relationship Id="rId4" Type="http://schemas.openxmlformats.org/officeDocument/2006/relationships/image" Target="../media/image159.png"/></Relationships>
</file>

<file path=ppt/slideLayouts/_rels/slideLayout161.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5.jpeg"/><Relationship Id="rId4" Type="http://schemas.openxmlformats.org/officeDocument/2006/relationships/image" Target="../media/image159.png"/></Relationships>
</file>

<file path=ppt/slideLayouts/_rels/slideLayout162.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6.jpeg"/><Relationship Id="rId4" Type="http://schemas.openxmlformats.org/officeDocument/2006/relationships/image" Target="../media/image159.png"/></Relationships>
</file>

<file path=ppt/slideLayouts/_rels/slideLayout163.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7.jpeg"/><Relationship Id="rId4" Type="http://schemas.openxmlformats.org/officeDocument/2006/relationships/image" Target="../media/image159.png"/></Relationships>
</file>

<file path=ppt/slideLayouts/_rels/slideLayout164.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8.jpeg"/><Relationship Id="rId4" Type="http://schemas.openxmlformats.org/officeDocument/2006/relationships/image" Target="../media/image159.png"/></Relationships>
</file>

<file path=ppt/slideLayouts/_rels/slideLayout165.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69.jpeg"/><Relationship Id="rId4" Type="http://schemas.openxmlformats.org/officeDocument/2006/relationships/image" Target="../media/image159.png"/></Relationships>
</file>

<file path=ppt/slideLayouts/_rels/slideLayout166.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70.jpeg"/><Relationship Id="rId4" Type="http://schemas.openxmlformats.org/officeDocument/2006/relationships/image" Target="../media/image159.png"/></Relationships>
</file>

<file path=ppt/slideLayouts/_rels/slideLayout167.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71.jpeg"/><Relationship Id="rId4" Type="http://schemas.openxmlformats.org/officeDocument/2006/relationships/image" Target="../media/image159.png"/></Relationships>
</file>

<file path=ppt/slideLayouts/_rels/slideLayout168.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72.jpeg"/><Relationship Id="rId4" Type="http://schemas.openxmlformats.org/officeDocument/2006/relationships/image" Target="../media/image159.png"/></Relationships>
</file>

<file path=ppt/slideLayouts/_rels/slideLayout169.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73.jpeg"/><Relationship Id="rId4" Type="http://schemas.openxmlformats.org/officeDocument/2006/relationships/image" Target="../media/image159.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74.jpeg"/><Relationship Id="rId4" Type="http://schemas.openxmlformats.org/officeDocument/2006/relationships/image" Target="../media/image159.png"/></Relationships>
</file>

<file path=ppt/slideLayouts/_rels/slideLayout171.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75.jpeg"/><Relationship Id="rId4" Type="http://schemas.openxmlformats.org/officeDocument/2006/relationships/image" Target="../media/image159.png"/></Relationships>
</file>

<file path=ppt/slideLayouts/_rels/slideLayout172.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76.jpeg"/><Relationship Id="rId4" Type="http://schemas.openxmlformats.org/officeDocument/2006/relationships/image" Target="../media/image159.png"/></Relationships>
</file>

<file path=ppt/slideLayouts/_rels/slideLayout173.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5" Type="http://schemas.openxmlformats.org/officeDocument/2006/relationships/image" Target="../media/image177.jpeg"/><Relationship Id="rId4" Type="http://schemas.openxmlformats.org/officeDocument/2006/relationships/image" Target="../media/image159.png"/></Relationships>
</file>

<file path=ppt/slideLayouts/_rels/slideLayout174.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58.png"/><Relationship Id="rId1" Type="http://schemas.openxmlformats.org/officeDocument/2006/relationships/slideMaster" Target="../slideMasters/slideMaster10.xml"/><Relationship Id="rId4" Type="http://schemas.openxmlformats.org/officeDocument/2006/relationships/image" Target="../media/image159.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8.png"/><Relationship Id="rId7" Type="http://schemas.microsoft.com/office/2007/relationships/hdphoto" Target="../media/hdphoto14.wdp"/><Relationship Id="rId2" Type="http://schemas.openxmlformats.org/officeDocument/2006/relationships/image" Target="../media/image36.png"/><Relationship Id="rId1" Type="http://schemas.openxmlformats.org/officeDocument/2006/relationships/slideMaster" Target="../slideMasters/slideMaster10.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79.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36.png"/><Relationship Id="rId1" Type="http://schemas.openxmlformats.org/officeDocument/2006/relationships/slideMaster" Target="../slideMasters/slideMaster10.xml"/><Relationship Id="rId5" Type="http://schemas.openxmlformats.org/officeDocument/2006/relationships/image" Target="../media/image34.png"/><Relationship Id="rId4" Type="http://schemas.openxmlformats.org/officeDocument/2006/relationships/image" Target="../media/image179.pn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2.png"/><Relationship Id="rId7" Type="http://schemas.microsoft.com/office/2007/relationships/hdphoto" Target="../media/hdphoto14.wdp"/><Relationship Id="rId2"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180.png"/><Relationship Id="rId1" Type="http://schemas.openxmlformats.org/officeDocument/2006/relationships/slideMaster" Target="../slideMasters/slideMaster1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2.wdp"/></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2.wdp"/></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3.wdp"/></Relationships>
</file>

<file path=ppt/slideLayouts/_rels/slideLayout18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Master" Target="../slideMasters/slideMaster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Master" Target="../slideMasters/slideMaster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6.wdp"/></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7.wdp"/></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8.wdp"/></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9.wdp"/></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0.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4.png"/><Relationship Id="rId2" Type="http://schemas.openxmlformats.org/officeDocument/2006/relationships/image" Target="../media/image26.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2.wdp"/></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Master" Target="../slideMasters/slideMaster13.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13.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41.jpeg"/><Relationship Id="rId4" Type="http://schemas.microsoft.com/office/2007/relationships/hdphoto" Target="../media/hdphoto15.wdp"/></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42.jpeg"/><Relationship Id="rId4" Type="http://schemas.microsoft.com/office/2007/relationships/hdphoto" Target="../media/hdphoto15.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43.jpeg"/><Relationship Id="rId4" Type="http://schemas.microsoft.com/office/2007/relationships/hdphoto" Target="../media/hdphoto15.wdp"/></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44.jpeg"/><Relationship Id="rId4" Type="http://schemas.microsoft.com/office/2007/relationships/hdphoto" Target="../media/hdphoto15.wdp"/></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45.jpeg"/><Relationship Id="rId4" Type="http://schemas.microsoft.com/office/2007/relationships/hdphoto" Target="../media/hdphoto15.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3.wdp"/></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46.jpeg"/><Relationship Id="rId4" Type="http://schemas.microsoft.com/office/2007/relationships/hdphoto" Target="../media/hdphoto15.wdp"/></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47.jpeg"/><Relationship Id="rId4" Type="http://schemas.microsoft.com/office/2007/relationships/hdphoto" Target="../media/hdphoto15.wdp"/></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48.jpeg"/><Relationship Id="rId4" Type="http://schemas.microsoft.com/office/2007/relationships/hdphoto" Target="../media/hdphoto15.wdp"/></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49.jpeg"/><Relationship Id="rId4" Type="http://schemas.microsoft.com/office/2007/relationships/hdphoto" Target="../media/hdphoto15.wdp"/></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0.jpeg"/><Relationship Id="rId4" Type="http://schemas.microsoft.com/office/2007/relationships/hdphoto" Target="../media/hdphoto15.wdp"/></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1.jpeg"/><Relationship Id="rId4" Type="http://schemas.microsoft.com/office/2007/relationships/hdphoto" Target="../media/hdphoto15.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2.jpeg"/><Relationship Id="rId4" Type="http://schemas.microsoft.com/office/2007/relationships/hdphoto" Target="../media/hdphoto15.wdp"/></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3.jpeg"/><Relationship Id="rId4" Type="http://schemas.microsoft.com/office/2007/relationships/hdphoto" Target="../media/hdphoto15.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4.jpeg"/><Relationship Id="rId4" Type="http://schemas.microsoft.com/office/2007/relationships/hdphoto" Target="../media/hdphoto15.wdp"/></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5.jpeg"/><Relationship Id="rId4" Type="http://schemas.microsoft.com/office/2007/relationships/hdphoto" Target="../media/hdphoto15.wdp"/></Relationships>
</file>

<file path=ppt/slideLayouts/_rels/slideLayout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6.jpeg"/><Relationship Id="rId4" Type="http://schemas.microsoft.com/office/2007/relationships/hdphoto" Target="../media/hdphoto15.wdp"/></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7.jpeg"/><Relationship Id="rId4" Type="http://schemas.microsoft.com/office/2007/relationships/hdphoto" Target="../media/hdphoto15.wdp"/></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8.jpeg"/><Relationship Id="rId4" Type="http://schemas.microsoft.com/office/2007/relationships/hdphoto" Target="../media/hdphoto15.wdp"/></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5" Type="http://schemas.openxmlformats.org/officeDocument/2006/relationships/image" Target="../media/image59.jpeg"/><Relationship Id="rId4" Type="http://schemas.microsoft.com/office/2007/relationships/hdphoto" Target="../media/hdphoto15.wdp"/></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3.xml"/><Relationship Id="rId4" Type="http://schemas.microsoft.com/office/2007/relationships/hdphoto" Target="../media/hdphoto15.wdp"/></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6.wdp"/></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7.wdp"/></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microsoft.com/office/2007/relationships/hdphoto" Target="../media/hdphoto8.wdp"/></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PLASHPAGE AF 1">
    <p:bg>
      <p:bgPr>
        <a:gradFill>
          <a:gsLst>
            <a:gs pos="24000">
              <a:schemeClr val="bg1">
                <a:alpha val="0"/>
              </a:schemeClr>
            </a:gs>
            <a:gs pos="100000">
              <a:srgbClr val="D2EEFC"/>
            </a:gs>
          </a:gsLst>
          <a:lin ang="18900000" scaled="1"/>
        </a:gradFill>
        <a:effectLst/>
      </p:bgPr>
    </p:bg>
    <p:spTree>
      <p:nvGrpSpPr>
        <p:cNvPr id="1" name=""/>
        <p:cNvGrpSpPr/>
        <p:nvPr/>
      </p:nvGrpSpPr>
      <p:grpSpPr>
        <a:xfrm>
          <a:off x="0" y="0"/>
          <a:ext cx="0" cy="0"/>
          <a:chOff x="0" y="0"/>
          <a:chExt cx="0" cy="0"/>
        </a:xfrm>
      </p:grpSpPr>
      <p:pic>
        <p:nvPicPr>
          <p:cNvPr id="2054" name="Picture 6">
            <a:extLst>
              <a:ext uri="{FF2B5EF4-FFF2-40B4-BE49-F238E27FC236}">
                <a16:creationId xmlns:a16="http://schemas.microsoft.com/office/drawing/2014/main" id="{B43C5739-9C50-4600-9D8C-4447946A6FBF}"/>
              </a:ext>
            </a:extLst>
          </p:cNvPr>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a:fillRect/>
          </a:stretch>
        </p:blipFill>
        <p:spPr bwMode="auto">
          <a:xfrm>
            <a:off x="0" y="0"/>
            <a:ext cx="7002463"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Placeholder 1">
            <a:extLst>
              <a:ext uri="{FF2B5EF4-FFF2-40B4-BE49-F238E27FC236}">
                <a16:creationId xmlns:a16="http://schemas.microsoft.com/office/drawing/2014/main" id="{191AB789-4696-4D28-8BA1-80BA27DDF8D9}"/>
              </a:ext>
            </a:extLst>
          </p:cNvPr>
          <p:cNvSpPr>
            <a:spLocks noGrp="1"/>
          </p:cNvSpPr>
          <p:nvPr userDrawn="1">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8" name="Text Placeholder 4">
            <a:extLst>
              <a:ext uri="{FF2B5EF4-FFF2-40B4-BE49-F238E27FC236}">
                <a16:creationId xmlns:a16="http://schemas.microsoft.com/office/drawing/2014/main" id="{6DAF46B8-C243-4C9F-AF45-36B2280FB4D7}"/>
              </a:ext>
            </a:extLst>
          </p:cNvPr>
          <p:cNvSpPr>
            <a:spLocks noGrp="1"/>
          </p:cNvSpPr>
          <p:nvPr userDrawn="1">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9" name="Date Placeholder 3">
            <a:extLst>
              <a:ext uri="{FF2B5EF4-FFF2-40B4-BE49-F238E27FC236}">
                <a16:creationId xmlns:a16="http://schemas.microsoft.com/office/drawing/2014/main" id="{6A9F479D-D471-49DF-AC54-46C87E517D50}"/>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1" name="Group 10">
            <a:extLst>
              <a:ext uri="{FF2B5EF4-FFF2-40B4-BE49-F238E27FC236}">
                <a16:creationId xmlns:a16="http://schemas.microsoft.com/office/drawing/2014/main" id="{21968E00-6E91-4173-A9A3-5DEA2D53D979}"/>
              </a:ext>
            </a:extLst>
          </p:cNvPr>
          <p:cNvGrpSpPr/>
          <p:nvPr userDrawn="1"/>
        </p:nvGrpSpPr>
        <p:grpSpPr>
          <a:xfrm>
            <a:off x="6073832" y="268219"/>
            <a:ext cx="5836821" cy="5088756"/>
            <a:chOff x="5836362" y="68074"/>
            <a:chExt cx="6083274" cy="5355263"/>
          </a:xfrm>
        </p:grpSpPr>
        <p:sp>
          <p:nvSpPr>
            <p:cNvPr id="12" name="Oval 11">
              <a:extLst>
                <a:ext uri="{FF2B5EF4-FFF2-40B4-BE49-F238E27FC236}">
                  <a16:creationId xmlns:a16="http://schemas.microsoft.com/office/drawing/2014/main" id="{133708CC-3E47-41A1-AE08-A9241C1B2422}"/>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760AA8C5-CD0E-40BE-B9AC-CE4A89001B83}"/>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Circle: Hollow 13">
              <a:extLst>
                <a:ext uri="{FF2B5EF4-FFF2-40B4-BE49-F238E27FC236}">
                  <a16:creationId xmlns:a16="http://schemas.microsoft.com/office/drawing/2014/main" id="{A6C49861-D4FC-4572-B2CD-9B4F661E6E6C}"/>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Oval 14">
              <a:extLst>
                <a:ext uri="{FF2B5EF4-FFF2-40B4-BE49-F238E27FC236}">
                  <a16:creationId xmlns:a16="http://schemas.microsoft.com/office/drawing/2014/main" id="{73DF7485-32A6-4E17-868B-C7991C3FEC4A}"/>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Circle: Hollow 15">
              <a:extLst>
                <a:ext uri="{FF2B5EF4-FFF2-40B4-BE49-F238E27FC236}">
                  <a16:creationId xmlns:a16="http://schemas.microsoft.com/office/drawing/2014/main" id="{14BE175D-CC04-4FA0-B052-01427B361F2E}"/>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7" name="Oval 16">
              <a:extLst>
                <a:ext uri="{FF2B5EF4-FFF2-40B4-BE49-F238E27FC236}">
                  <a16:creationId xmlns:a16="http://schemas.microsoft.com/office/drawing/2014/main" id="{0751D0CE-6385-47F8-BE2A-E5B0319DA89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3C4FCADC-3A29-472B-A041-AF95888282E9}"/>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0A4CC093-256C-452E-ADF2-8AC8AD0B071D}"/>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Circle: Hollow 24">
              <a:extLst>
                <a:ext uri="{FF2B5EF4-FFF2-40B4-BE49-F238E27FC236}">
                  <a16:creationId xmlns:a16="http://schemas.microsoft.com/office/drawing/2014/main" id="{1055BC9F-76B2-4DC9-B646-C3DBF08FE73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Circle: Hollow 25">
              <a:extLst>
                <a:ext uri="{FF2B5EF4-FFF2-40B4-BE49-F238E27FC236}">
                  <a16:creationId xmlns:a16="http://schemas.microsoft.com/office/drawing/2014/main" id="{C1D61945-1D36-4C46-94EA-09639294D240}"/>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7" name="Oval 26">
              <a:extLst>
                <a:ext uri="{FF2B5EF4-FFF2-40B4-BE49-F238E27FC236}">
                  <a16:creationId xmlns:a16="http://schemas.microsoft.com/office/drawing/2014/main" id="{003A1C6A-1D6A-4180-A0D9-DC2133AB5E04}"/>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5B64840F-D5C1-4379-AA9D-E34F57D8198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6E876024-2B36-40F8-BD2F-E22EC8FBA6C7}"/>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0" name="Oval 29">
              <a:extLst>
                <a:ext uri="{FF2B5EF4-FFF2-40B4-BE49-F238E27FC236}">
                  <a16:creationId xmlns:a16="http://schemas.microsoft.com/office/drawing/2014/main" id="{6B8E76BA-92E6-4A24-B419-903994AFA07A}"/>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1" name="Circle: Hollow 30">
              <a:extLst>
                <a:ext uri="{FF2B5EF4-FFF2-40B4-BE49-F238E27FC236}">
                  <a16:creationId xmlns:a16="http://schemas.microsoft.com/office/drawing/2014/main" id="{E4DAC61B-A6EA-40DF-A6CA-406E78A3482C}"/>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2" name="Oval 31">
              <a:extLst>
                <a:ext uri="{FF2B5EF4-FFF2-40B4-BE49-F238E27FC236}">
                  <a16:creationId xmlns:a16="http://schemas.microsoft.com/office/drawing/2014/main" id="{60B4BF62-C933-40EF-9FFD-36F7DFD2FA46}"/>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8AD7FE86-F458-477D-8987-7EB5E430B2AB}"/>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FB4C900C-B786-4C7D-B946-C89ADC1F868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025D3909-379A-47F0-BE09-6E6F278F48F9}"/>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E22B5079-F74D-4727-89F7-6199AF626577}"/>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2B01D1C-650D-42BB-BF15-ACD8121D921D}"/>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1AE4ACF3-006A-4F3C-9CB1-D0CE27F8A835}"/>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2D46D9B4-E9AB-433F-AEC7-A32416D14F4A}"/>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E1F2AF9C-48E6-45FD-9799-5AFB06701B23}"/>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1" name="Oval 40">
              <a:extLst>
                <a:ext uri="{FF2B5EF4-FFF2-40B4-BE49-F238E27FC236}">
                  <a16:creationId xmlns:a16="http://schemas.microsoft.com/office/drawing/2014/main" id="{B0B57178-91CE-43F2-8F84-93DFBDC06A4C}"/>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76CAF3AF-BE7C-4BE0-9F3E-414DDDE95466}"/>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44D45B54-E16A-41AE-906E-60C66656DB3E}"/>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384992A8-B534-4C80-B5D2-165C2096B568}"/>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345CB2C0-559C-483A-B467-18495FC6FE9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2704BC36-310C-499E-88DA-D5B9B0C46F8F}"/>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7" name="Oval 46">
              <a:extLst>
                <a:ext uri="{FF2B5EF4-FFF2-40B4-BE49-F238E27FC236}">
                  <a16:creationId xmlns:a16="http://schemas.microsoft.com/office/drawing/2014/main" id="{C4769ECB-893B-469D-AFF4-A26CF0D77243}"/>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32318BD6-0127-461A-AE31-450236FAC8F9}"/>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7CEC3FF5-C7A7-44D8-964F-7EEAAC4B3D5A}"/>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063E4DF0-3BDF-44EF-B4CF-4695F482286C}"/>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2FB73E6A-162D-4597-9949-E2DCBDCA7A1F}"/>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243743B5-5C57-4A17-BD16-FAFEAF84372E}"/>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FA380C2E-433A-4855-AE90-561C1DD5BC11}"/>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Oval 53">
              <a:extLst>
                <a:ext uri="{FF2B5EF4-FFF2-40B4-BE49-F238E27FC236}">
                  <a16:creationId xmlns:a16="http://schemas.microsoft.com/office/drawing/2014/main" id="{9A8EFCA7-D62A-40AF-A0EE-8CD32139C689}"/>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Oval 54">
              <a:extLst>
                <a:ext uri="{FF2B5EF4-FFF2-40B4-BE49-F238E27FC236}">
                  <a16:creationId xmlns:a16="http://schemas.microsoft.com/office/drawing/2014/main" id="{ACDDF769-3287-42DE-8726-81CD485DD11E}"/>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Oval 55">
              <a:extLst>
                <a:ext uri="{FF2B5EF4-FFF2-40B4-BE49-F238E27FC236}">
                  <a16:creationId xmlns:a16="http://schemas.microsoft.com/office/drawing/2014/main" id="{F74DFBA7-E237-4694-A16D-8C66E6670470}"/>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Circle: Hollow 56">
              <a:extLst>
                <a:ext uri="{FF2B5EF4-FFF2-40B4-BE49-F238E27FC236}">
                  <a16:creationId xmlns:a16="http://schemas.microsoft.com/office/drawing/2014/main" id="{2899A1AA-7CE5-469A-8DDE-69F0E7B41CB7}"/>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8" name="Circle: Hollow 57">
              <a:extLst>
                <a:ext uri="{FF2B5EF4-FFF2-40B4-BE49-F238E27FC236}">
                  <a16:creationId xmlns:a16="http://schemas.microsoft.com/office/drawing/2014/main" id="{773D1B30-05A4-495B-931B-968ECE0C14DF}"/>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288C8FB-13C9-99FB-B01C-DC4395A3BA6A}"/>
              </a:ext>
            </a:extLst>
          </p:cNvPr>
          <p:cNvGrpSpPr/>
          <p:nvPr userDrawn="1"/>
        </p:nvGrpSpPr>
        <p:grpSpPr>
          <a:xfrm>
            <a:off x="159315" y="144317"/>
            <a:ext cx="5267789" cy="638537"/>
            <a:chOff x="0" y="0"/>
            <a:chExt cx="3793402" cy="559435"/>
          </a:xfrm>
        </p:grpSpPr>
        <p:sp>
          <p:nvSpPr>
            <p:cNvPr id="3" name="Rectangle 2">
              <a:extLst>
                <a:ext uri="{FF2B5EF4-FFF2-40B4-BE49-F238E27FC236}">
                  <a16:creationId xmlns:a16="http://schemas.microsoft.com/office/drawing/2014/main" id="{7F0A5D73-5526-440B-2C11-AE1BC42C3E8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4" name="Picture 3">
              <a:extLst>
                <a:ext uri="{FF2B5EF4-FFF2-40B4-BE49-F238E27FC236}">
                  <a16:creationId xmlns:a16="http://schemas.microsoft.com/office/drawing/2014/main" id="{6E53A130-1D8C-D2D0-CF39-EC03D347951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E8F2A838-40E6-8577-AE70-F1CD20FC2A14}"/>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37D80520-0709-236C-C671-6FD145FDD001}"/>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4033079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ASHPAGE SA 3">
    <p:bg>
      <p:bgPr>
        <a:solidFill>
          <a:schemeClr val="bg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45F9B6AB-F9A0-4EC1-A281-A500C0BBC4DB}"/>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1968" y="0"/>
            <a:ext cx="728432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CB1764CA-5D9E-486C-B161-FDBA6DEA1EB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36" b="99466" l="65302" r="96520">
                        <a14:foregroundMark x1="96622" y1="59188" x2="96520" y2="61111"/>
                        <a14:foregroundMark x1="96622" y1="54701" x2="95906" y2="56944"/>
                        <a14:foregroundMark x1="82600" y1="24573" x2="80348" y2="27457"/>
                        <a14:foregroundMark x1="84749" y1="22436" x2="90276" y2="24038"/>
                        <a14:foregroundMark x1="67451" y1="63034" x2="65404" y2="64103"/>
                        <a14:foregroundMark x1="94063" y1="77350" x2="95906" y2="99466"/>
                        <a14:foregroundMark x1="78506" y1="83120" x2="73900" y2="98504"/>
                        <a14:foregroundMark x1="87206" y1="22650" x2="87206" y2="22650"/>
                        <a14:foregroundMark x1="87206" y1="22329" x2="85466" y2="22222"/>
                        <a14:backgroundMark x1="72979" y1="91239" x2="71341" y2="99573"/>
                        <a14:backgroundMark x1="85670" y1="21902" x2="85670" y2="21902"/>
                      </a14:backgroundRemoval>
                    </a14:imgEffect>
                  </a14:imgLayer>
                </a14:imgProps>
              </a:ext>
              <a:ext uri="{28A0092B-C50C-407E-A947-70E740481C1C}">
                <a14:useLocalDpi xmlns:a14="http://schemas.microsoft.com/office/drawing/2010/main" val="0"/>
              </a:ext>
            </a:extLst>
          </a:blip>
          <a:srcRect l="63474"/>
          <a:stretch/>
        </p:blipFill>
        <p:spPr bwMode="auto">
          <a:xfrm flipH="1">
            <a:off x="-35859" y="-46506"/>
            <a:ext cx="2680288" cy="690855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C58D2257-C56B-DFE2-5AB2-556FA77EA265}"/>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1CBA513E-CB1F-E63B-2009-A72D73CF9178}"/>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7B741B4A-3601-9811-24CF-A8567B4EA59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D9BD470-476B-3670-EEB1-EC469B8ED46C}"/>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82C826C5-7031-81DE-775C-77EB7D5C2681}"/>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6119405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PAGE IMAGE TOP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55" descr="A picture containing person, people, close&#10;&#10;Description automatically generated">
            <a:extLst>
              <a:ext uri="{FF2B5EF4-FFF2-40B4-BE49-F238E27FC236}">
                <a16:creationId xmlns:a16="http://schemas.microsoft.com/office/drawing/2014/main" id="{A053A14F-3154-48C1-95DE-448E4809B27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17203" y="-211669"/>
            <a:ext cx="2945028" cy="2945028"/>
          </a:xfrm>
          <a:prstGeom prst="ellipse">
            <a:avLst/>
          </a:prstGeom>
          <a:ln>
            <a:noFill/>
          </a:ln>
        </p:spPr>
      </p:pic>
      <p:sp>
        <p:nvSpPr>
          <p:cNvPr id="2" name="Text Placeholder 4">
            <a:extLst>
              <a:ext uri="{FF2B5EF4-FFF2-40B4-BE49-F238E27FC236}">
                <a16:creationId xmlns:a16="http://schemas.microsoft.com/office/drawing/2014/main" id="{2A2B4C7B-0CCD-A517-9DFD-4D0DD12C4534}"/>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5105F57-93A2-08F5-CD22-FBBDE4BBCD11}"/>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7721151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PAGE IMAGE TOP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61">
            <a:extLst>
              <a:ext uri="{FF2B5EF4-FFF2-40B4-BE49-F238E27FC236}">
                <a16:creationId xmlns:a16="http://schemas.microsoft.com/office/drawing/2014/main" id="{08E6D46D-DA71-472B-A63A-5E527CCE27C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17338" y="-196343"/>
            <a:ext cx="2941233" cy="2941233"/>
          </a:xfrm>
          <a:prstGeom prst="ellipse">
            <a:avLst/>
          </a:prstGeom>
          <a:ln>
            <a:noFill/>
          </a:ln>
        </p:spPr>
      </p:pic>
      <p:sp>
        <p:nvSpPr>
          <p:cNvPr id="2" name="Text Placeholder 4">
            <a:extLst>
              <a:ext uri="{FF2B5EF4-FFF2-40B4-BE49-F238E27FC236}">
                <a16:creationId xmlns:a16="http://schemas.microsoft.com/office/drawing/2014/main" id="{6F17382C-2B9B-FBCD-45D9-748CAA94F9DD}"/>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2736B12-A511-72B3-CAEB-889F5C56DDBA}"/>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3735699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PAGE IMAGE TOP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66">
            <a:extLst>
              <a:ext uri="{FF2B5EF4-FFF2-40B4-BE49-F238E27FC236}">
                <a16:creationId xmlns:a16="http://schemas.microsoft.com/office/drawing/2014/main" id="{74F869F0-BACE-41C7-A322-B09511CD34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31485" y="-145618"/>
            <a:ext cx="2881395" cy="2881395"/>
          </a:xfrm>
          <a:prstGeom prst="ellipse">
            <a:avLst/>
          </a:prstGeom>
          <a:ln>
            <a:noFill/>
          </a:ln>
        </p:spPr>
      </p:pic>
      <p:sp>
        <p:nvSpPr>
          <p:cNvPr id="2" name="Text Placeholder 4">
            <a:extLst>
              <a:ext uri="{FF2B5EF4-FFF2-40B4-BE49-F238E27FC236}">
                <a16:creationId xmlns:a16="http://schemas.microsoft.com/office/drawing/2014/main" id="{2C22D26E-9BC9-152A-A1A8-F6BE39BC5017}"/>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A6D710C-96CC-F2BB-D170-6C76025E5EA7}"/>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7435931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PAGE IMAGE TOP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71" descr="A picture containing person, ground, outdoor&#10;&#10;Description automatically generated">
            <a:extLst>
              <a:ext uri="{FF2B5EF4-FFF2-40B4-BE49-F238E27FC236}">
                <a16:creationId xmlns:a16="http://schemas.microsoft.com/office/drawing/2014/main" id="{223E0373-AB26-4C70-8293-B94DD4302C8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3648" y="-174605"/>
            <a:ext cx="2881395" cy="2881395"/>
          </a:xfrm>
          <a:prstGeom prst="ellipse">
            <a:avLst/>
          </a:prstGeom>
          <a:ln>
            <a:noFill/>
          </a:ln>
        </p:spPr>
      </p:pic>
      <p:sp>
        <p:nvSpPr>
          <p:cNvPr id="2" name="Text Placeholder 4">
            <a:extLst>
              <a:ext uri="{FF2B5EF4-FFF2-40B4-BE49-F238E27FC236}">
                <a16:creationId xmlns:a16="http://schemas.microsoft.com/office/drawing/2014/main" id="{604926F4-F1D8-5F88-6EC4-D0099F1AEFC0}"/>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08126EB-AACE-09E2-EE1C-47B6B13E7745}"/>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23414340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PAGE IMAGE TOP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144">
            <a:extLst>
              <a:ext uri="{FF2B5EF4-FFF2-40B4-BE49-F238E27FC236}">
                <a16:creationId xmlns:a16="http://schemas.microsoft.com/office/drawing/2014/main" id="{1FFD8D38-55F1-455B-8F57-103CA35CDCD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61652" y="-181354"/>
            <a:ext cx="2881395" cy="2881395"/>
          </a:xfrm>
          <a:prstGeom prst="ellipse">
            <a:avLst/>
          </a:prstGeom>
          <a:ln>
            <a:noFill/>
          </a:ln>
        </p:spPr>
      </p:pic>
      <p:sp>
        <p:nvSpPr>
          <p:cNvPr id="2" name="Text Placeholder 4">
            <a:extLst>
              <a:ext uri="{FF2B5EF4-FFF2-40B4-BE49-F238E27FC236}">
                <a16:creationId xmlns:a16="http://schemas.microsoft.com/office/drawing/2014/main" id="{EDB224E9-AD85-8940-C67B-9B7A36BF5EC4}"/>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A577DD0-3085-8764-58F9-35632F35DDE0}"/>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26235916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PAGE IMAGE TOP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28" descr="A group of people posing for the camera&#10;&#10;Description automatically generated">
            <a:extLst>
              <a:ext uri="{FF2B5EF4-FFF2-40B4-BE49-F238E27FC236}">
                <a16:creationId xmlns:a16="http://schemas.microsoft.com/office/drawing/2014/main" id="{CAE5C3F0-7A57-4509-A39B-B712FEE8DD6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41703" y="-184115"/>
            <a:ext cx="2881395" cy="2881395"/>
          </a:xfrm>
          <a:prstGeom prst="ellipse">
            <a:avLst/>
          </a:prstGeom>
          <a:ln>
            <a:noFill/>
          </a:ln>
        </p:spPr>
      </p:pic>
      <p:sp>
        <p:nvSpPr>
          <p:cNvPr id="2" name="Text Placeholder 4">
            <a:extLst>
              <a:ext uri="{FF2B5EF4-FFF2-40B4-BE49-F238E27FC236}">
                <a16:creationId xmlns:a16="http://schemas.microsoft.com/office/drawing/2014/main" id="{52348451-0E59-7072-1125-10F07E0F30D8}"/>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121D82E-04E8-21F2-4FCA-E77038D3374F}"/>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6965470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PAGE IMAGE TOP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9" name="Picture Placeholder 137">
            <a:extLst>
              <a:ext uri="{FF2B5EF4-FFF2-40B4-BE49-F238E27FC236}">
                <a16:creationId xmlns:a16="http://schemas.microsoft.com/office/drawing/2014/main" id="{A88CDFA4-3048-4B5A-B351-99A4F572638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1933" y="-161905"/>
            <a:ext cx="2881395" cy="2881395"/>
          </a:xfrm>
          <a:prstGeom prst="ellipse">
            <a:avLst/>
          </a:prstGeom>
          <a:ln>
            <a:noFill/>
          </a:ln>
        </p:spPr>
      </p:pic>
      <p:sp>
        <p:nvSpPr>
          <p:cNvPr id="2" name="Text Placeholder 4">
            <a:extLst>
              <a:ext uri="{FF2B5EF4-FFF2-40B4-BE49-F238E27FC236}">
                <a16:creationId xmlns:a16="http://schemas.microsoft.com/office/drawing/2014/main" id="{2C8BE9FF-2BB1-4891-9F91-D5DDE7B0099E}"/>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014EA18-D9F2-2DFB-8F36-980102627C31}"/>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0248782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PAGE IMAGE TOP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32">
            <a:extLst>
              <a:ext uri="{FF2B5EF4-FFF2-40B4-BE49-F238E27FC236}">
                <a16:creationId xmlns:a16="http://schemas.microsoft.com/office/drawing/2014/main" id="{D4F8B68D-F1AB-4BBB-93B4-ADA9BAD1EE0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43950" y="-163609"/>
            <a:ext cx="2881395" cy="2881395"/>
          </a:xfrm>
          <a:prstGeom prst="ellipse">
            <a:avLst/>
          </a:prstGeom>
          <a:ln>
            <a:noFill/>
          </a:ln>
        </p:spPr>
      </p:pic>
      <p:sp>
        <p:nvSpPr>
          <p:cNvPr id="2" name="Text Placeholder 4">
            <a:extLst>
              <a:ext uri="{FF2B5EF4-FFF2-40B4-BE49-F238E27FC236}">
                <a16:creationId xmlns:a16="http://schemas.microsoft.com/office/drawing/2014/main" id="{06E58E42-850A-642E-881A-2234FFF86B19}"/>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49A568F-039D-3CA5-C6E8-FDC21CC2362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87583259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PAGE IMAGE TOP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68">
            <a:extLst>
              <a:ext uri="{FF2B5EF4-FFF2-40B4-BE49-F238E27FC236}">
                <a16:creationId xmlns:a16="http://schemas.microsoft.com/office/drawing/2014/main" id="{9667BFF7-1B13-4CC9-BF2C-11388F0C33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439" y="-188152"/>
            <a:ext cx="2881395" cy="2881395"/>
          </a:xfrm>
          <a:prstGeom prst="ellipse">
            <a:avLst/>
          </a:prstGeom>
          <a:ln>
            <a:noFill/>
          </a:ln>
        </p:spPr>
      </p:pic>
      <p:sp>
        <p:nvSpPr>
          <p:cNvPr id="2" name="Text Placeholder 4">
            <a:extLst>
              <a:ext uri="{FF2B5EF4-FFF2-40B4-BE49-F238E27FC236}">
                <a16:creationId xmlns:a16="http://schemas.microsoft.com/office/drawing/2014/main" id="{C681E71E-39C1-10C1-168F-75D331B10F78}"/>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51FF87B-E337-56AF-A56B-01C66C712BA4}"/>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3747395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PAGE IMAGE TOP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Placeholder 273" descr="A picture containing person, yellow, blue&#10;&#10;Description automatically generated">
            <a:extLst>
              <a:ext uri="{FF2B5EF4-FFF2-40B4-BE49-F238E27FC236}">
                <a16:creationId xmlns:a16="http://schemas.microsoft.com/office/drawing/2014/main" id="{7C958FA5-9EB2-4506-9A88-C836A322990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35864" y="-193876"/>
            <a:ext cx="2881395" cy="2881395"/>
          </a:xfrm>
          <a:prstGeom prst="ellipse">
            <a:avLst/>
          </a:prstGeom>
          <a:ln>
            <a:noFill/>
          </a:ln>
        </p:spPr>
      </p:pic>
      <p:sp>
        <p:nvSpPr>
          <p:cNvPr id="2" name="Text Placeholder 4">
            <a:extLst>
              <a:ext uri="{FF2B5EF4-FFF2-40B4-BE49-F238E27FC236}">
                <a16:creationId xmlns:a16="http://schemas.microsoft.com/office/drawing/2014/main" id="{AACB6144-4CDC-F0A7-8C64-E9E7D840D066}"/>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B86D614-3561-C21B-EF4A-822FF0D8A0D1}"/>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722049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ASHPAGE WE 1">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323FBCDE-CAB9-449A-85C0-B8C741E8236C}"/>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1"/>
            <a:ext cx="7130921" cy="6864293"/>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98C08A2-264D-F340-99FB-2EA278AE2B07}"/>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68164460-BE58-69C0-3E03-65FD2E02CA8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69893C7D-6D5D-FE81-62DC-5E28E92A28A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BE2B408-0BC5-F310-997F-D4834FCC842D}"/>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38A82FDF-3076-78AD-066E-EC6AB38ACEF7}"/>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8243271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PAGE IMAGE TOP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83">
            <a:extLst>
              <a:ext uri="{FF2B5EF4-FFF2-40B4-BE49-F238E27FC236}">
                <a16:creationId xmlns:a16="http://schemas.microsoft.com/office/drawing/2014/main" id="{14DC6DCD-0887-4C8A-AD51-C66A4BF9699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1764" y="-156396"/>
            <a:ext cx="2881395" cy="2881395"/>
          </a:xfrm>
          <a:prstGeom prst="ellipse">
            <a:avLst/>
          </a:prstGeom>
          <a:ln>
            <a:noFill/>
          </a:ln>
        </p:spPr>
      </p:pic>
      <p:sp>
        <p:nvSpPr>
          <p:cNvPr id="2" name="Text Placeholder 4">
            <a:extLst>
              <a:ext uri="{FF2B5EF4-FFF2-40B4-BE49-F238E27FC236}">
                <a16:creationId xmlns:a16="http://schemas.microsoft.com/office/drawing/2014/main" id="{A07D941F-CED7-1849-ED94-268CDDE2A66A}"/>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FA5E7B1-092A-BAC9-B119-3A9904A4C162}"/>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97446056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PAGE IMAGE TOP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78">
            <a:extLst>
              <a:ext uri="{FF2B5EF4-FFF2-40B4-BE49-F238E27FC236}">
                <a16:creationId xmlns:a16="http://schemas.microsoft.com/office/drawing/2014/main" id="{867149C0-22C6-417C-9400-0D1F080D45A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439" y="-185519"/>
            <a:ext cx="2881395" cy="2881395"/>
          </a:xfrm>
          <a:prstGeom prst="ellipse">
            <a:avLst/>
          </a:prstGeom>
          <a:ln>
            <a:noFill/>
          </a:ln>
        </p:spPr>
      </p:pic>
      <p:sp>
        <p:nvSpPr>
          <p:cNvPr id="2" name="Text Placeholder 4">
            <a:extLst>
              <a:ext uri="{FF2B5EF4-FFF2-40B4-BE49-F238E27FC236}">
                <a16:creationId xmlns:a16="http://schemas.microsoft.com/office/drawing/2014/main" id="{062F1AEE-9D24-0048-7F2B-C4962CBB622A}"/>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E055FD0-0DA0-1CAA-948D-6F10BAF1181A}"/>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9198554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PAGE IMAGE TOP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1" name="Picture Placeholder 159" descr="A group of people in clothing&#10;&#10;Description automatically generated with low confidence">
            <a:extLst>
              <a:ext uri="{FF2B5EF4-FFF2-40B4-BE49-F238E27FC236}">
                <a16:creationId xmlns:a16="http://schemas.microsoft.com/office/drawing/2014/main" id="{86B42518-54F2-48D0-AB37-26AB746B9A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443"/>
          <a:stretch/>
        </p:blipFill>
        <p:spPr>
          <a:xfrm>
            <a:off x="9450647" y="-194761"/>
            <a:ext cx="2881395" cy="2881395"/>
          </a:xfrm>
          <a:prstGeom prst="ellipse">
            <a:avLst/>
          </a:prstGeom>
          <a:ln>
            <a:noFill/>
          </a:ln>
        </p:spPr>
      </p:pic>
      <p:sp>
        <p:nvSpPr>
          <p:cNvPr id="2" name="Text Placeholder 4">
            <a:extLst>
              <a:ext uri="{FF2B5EF4-FFF2-40B4-BE49-F238E27FC236}">
                <a16:creationId xmlns:a16="http://schemas.microsoft.com/office/drawing/2014/main" id="{02F82E83-09F9-0167-70CF-3A81F890A1A3}"/>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Tree>
    <p:extLst>
      <p:ext uri="{BB962C8B-B14F-4D97-AF65-F5344CB8AC3E}">
        <p14:creationId xmlns:p14="http://schemas.microsoft.com/office/powerpoint/2010/main" val="199491509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PAGE IMAGE TOP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49">
            <a:extLst>
              <a:ext uri="{FF2B5EF4-FFF2-40B4-BE49-F238E27FC236}">
                <a16:creationId xmlns:a16="http://schemas.microsoft.com/office/drawing/2014/main" id="{E6F26590-4515-4493-9748-C1D3865E573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46823" y="-180955"/>
            <a:ext cx="2881395" cy="2881395"/>
          </a:xfrm>
          <a:prstGeom prst="ellipse">
            <a:avLst/>
          </a:prstGeom>
          <a:ln>
            <a:noFill/>
          </a:ln>
        </p:spPr>
      </p:pic>
      <p:sp>
        <p:nvSpPr>
          <p:cNvPr id="2" name="Text Placeholder 4">
            <a:extLst>
              <a:ext uri="{FF2B5EF4-FFF2-40B4-BE49-F238E27FC236}">
                <a16:creationId xmlns:a16="http://schemas.microsoft.com/office/drawing/2014/main" id="{4681F249-64D6-2B9C-50FE-89D13B9D3D0E}"/>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3C6186C1-3165-F053-BB92-8F477E0BA122}"/>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7717667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PAGE IMAGE TOP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54">
            <a:extLst>
              <a:ext uri="{FF2B5EF4-FFF2-40B4-BE49-F238E27FC236}">
                <a16:creationId xmlns:a16="http://schemas.microsoft.com/office/drawing/2014/main" id="{99ED9B69-E260-4071-A1FE-0CAD30A88C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41010" y="-158441"/>
            <a:ext cx="2881395" cy="2881395"/>
          </a:xfrm>
          <a:prstGeom prst="ellipse">
            <a:avLst/>
          </a:prstGeom>
          <a:ln>
            <a:noFill/>
          </a:ln>
        </p:spPr>
      </p:pic>
      <p:sp>
        <p:nvSpPr>
          <p:cNvPr id="2" name="Text Placeholder 4">
            <a:extLst>
              <a:ext uri="{FF2B5EF4-FFF2-40B4-BE49-F238E27FC236}">
                <a16:creationId xmlns:a16="http://schemas.microsoft.com/office/drawing/2014/main" id="{6CC04867-27C9-96F2-87EE-0D36ED363ED9}"/>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974CD3A-C319-7335-1F50-A8755A22CFD9}"/>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2873605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PAGE IMAGE TOP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8F8C57A-9156-4C48-80B8-BB5DBA493B8B}"/>
              </a:ext>
            </a:extLst>
          </p:cNvPr>
          <p:cNvSpPr>
            <a:spLocks noChangeAspect="1"/>
          </p:cNvSpPr>
          <p:nvPr userDrawn="1"/>
        </p:nvSpPr>
        <p:spPr>
          <a:xfrm>
            <a:off x="9156146" y="-437487"/>
            <a:ext cx="3439291" cy="3406128"/>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D9BD97E-8857-487F-A778-D7DB70EA67CF}"/>
              </a:ext>
            </a:extLst>
          </p:cNvPr>
          <p:cNvSpPr>
            <a:spLocks noChangeAspect="1"/>
          </p:cNvSpPr>
          <p:nvPr userDrawn="1"/>
        </p:nvSpPr>
        <p:spPr>
          <a:xfrm>
            <a:off x="9242995" y="-345174"/>
            <a:ext cx="3261356" cy="3229908"/>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Picture Placeholder 2">
            <a:extLst>
              <a:ext uri="{FF2B5EF4-FFF2-40B4-BE49-F238E27FC236}">
                <a16:creationId xmlns:a16="http://schemas.microsoft.com/office/drawing/2014/main" id="{6C7233ED-32AA-4806-845D-0643D1B06CEE}"/>
              </a:ext>
            </a:extLst>
          </p:cNvPr>
          <p:cNvSpPr>
            <a:spLocks noGrp="1" noChangeAspect="1"/>
          </p:cNvSpPr>
          <p:nvPr>
            <p:ph type="pic" sz="quarter" idx="10"/>
          </p:nvPr>
        </p:nvSpPr>
        <p:spPr>
          <a:xfrm>
            <a:off x="9429064" y="-180364"/>
            <a:ext cx="2881395" cy="2881395"/>
          </a:xfrm>
          <a:prstGeom prst="ellipse">
            <a:avLst/>
          </a:prstGeom>
          <a:ln>
            <a:noFill/>
          </a:ln>
        </p:spPr>
        <p:txBody>
          <a:bodyPr/>
          <a:lstStyle/>
          <a:p>
            <a:endParaRPr lang="nl-NL"/>
          </a:p>
        </p:txBody>
      </p:sp>
      <p:sp>
        <p:nvSpPr>
          <p:cNvPr id="2" name="Text Placeholder 4">
            <a:extLst>
              <a:ext uri="{FF2B5EF4-FFF2-40B4-BE49-F238E27FC236}">
                <a16:creationId xmlns:a16="http://schemas.microsoft.com/office/drawing/2014/main" id="{5B59A2BB-D46E-B6C2-910B-FBC8C4C3090E}"/>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4F764A5-2E54-FF8B-8BE6-97A2874D2967}"/>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51071810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PAGE IMAGE BOTTOM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Placeholder 24">
            <a:extLst>
              <a:ext uri="{FF2B5EF4-FFF2-40B4-BE49-F238E27FC236}">
                <a16:creationId xmlns:a16="http://schemas.microsoft.com/office/drawing/2014/main" id="{C757CF11-20B2-4700-8713-4A67CFD8676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68041" y="3883604"/>
            <a:ext cx="3099286" cy="3099286"/>
          </a:xfrm>
          <a:prstGeom prst="ellipse">
            <a:avLst/>
          </a:prstGeom>
          <a:ln>
            <a:noFill/>
          </a:ln>
        </p:spPr>
      </p:pic>
      <p:sp>
        <p:nvSpPr>
          <p:cNvPr id="2" name="Text Placeholder 4">
            <a:extLst>
              <a:ext uri="{FF2B5EF4-FFF2-40B4-BE49-F238E27FC236}">
                <a16:creationId xmlns:a16="http://schemas.microsoft.com/office/drawing/2014/main" id="{AB05D7D2-A361-26D9-8597-1548C7AC3B59}"/>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260CAC8-B628-2D7A-5517-63B5AE89C985}"/>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92948797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PAGE IMAGE BOTTOM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19">
            <a:extLst>
              <a:ext uri="{FF2B5EF4-FFF2-40B4-BE49-F238E27FC236}">
                <a16:creationId xmlns:a16="http://schemas.microsoft.com/office/drawing/2014/main" id="{6881D655-B486-4AB5-B00C-EF67803F211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1165" y="3886995"/>
            <a:ext cx="3099286" cy="3099286"/>
          </a:xfrm>
          <a:prstGeom prst="ellipse">
            <a:avLst/>
          </a:prstGeom>
          <a:ln>
            <a:noFill/>
          </a:ln>
        </p:spPr>
      </p:pic>
      <p:sp>
        <p:nvSpPr>
          <p:cNvPr id="2" name="Text Placeholder 4">
            <a:extLst>
              <a:ext uri="{FF2B5EF4-FFF2-40B4-BE49-F238E27FC236}">
                <a16:creationId xmlns:a16="http://schemas.microsoft.com/office/drawing/2014/main" id="{BC52211A-A0E4-2340-873F-C3F4642AC0F0}"/>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C8CB7D6-C2FB-EB02-80D6-BC75608A8CC5}"/>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1125113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PAGE IMAGE BOTTOM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14">
            <a:extLst>
              <a:ext uri="{FF2B5EF4-FFF2-40B4-BE49-F238E27FC236}">
                <a16:creationId xmlns:a16="http://schemas.microsoft.com/office/drawing/2014/main" id="{9F00E62C-64C3-4F25-825D-900EFD72EB1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1084" y="3889550"/>
            <a:ext cx="3099286" cy="3099286"/>
          </a:xfrm>
          <a:prstGeom prst="ellipse">
            <a:avLst/>
          </a:prstGeom>
          <a:ln>
            <a:noFill/>
          </a:ln>
        </p:spPr>
      </p:pic>
      <p:sp>
        <p:nvSpPr>
          <p:cNvPr id="2" name="Text Placeholder 4">
            <a:extLst>
              <a:ext uri="{FF2B5EF4-FFF2-40B4-BE49-F238E27FC236}">
                <a16:creationId xmlns:a16="http://schemas.microsoft.com/office/drawing/2014/main" id="{B9F12178-4D40-7AE2-FE82-502E54B1FA5A}"/>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E268968-56B8-7451-225B-3BC05EAB88CC}"/>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9735088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PAGE IMAGE BOTTOM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
            <a:extLst>
              <a:ext uri="{FF2B5EF4-FFF2-40B4-BE49-F238E27FC236}">
                <a16:creationId xmlns:a16="http://schemas.microsoft.com/office/drawing/2014/main" id="{BCE4A188-44D9-4D50-8252-5E5A0F3389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36"/>
          <a:stretch/>
        </p:blipFill>
        <p:spPr>
          <a:xfrm>
            <a:off x="-168041" y="3878999"/>
            <a:ext cx="3099286" cy="3099286"/>
          </a:xfrm>
          <a:prstGeom prst="ellipse">
            <a:avLst/>
          </a:prstGeom>
          <a:ln>
            <a:noFill/>
          </a:ln>
        </p:spPr>
      </p:pic>
      <p:sp>
        <p:nvSpPr>
          <p:cNvPr id="2" name="Text Placeholder 4">
            <a:extLst>
              <a:ext uri="{FF2B5EF4-FFF2-40B4-BE49-F238E27FC236}">
                <a16:creationId xmlns:a16="http://schemas.microsoft.com/office/drawing/2014/main" id="{F0EF24D3-41DD-EA70-F8E6-3052AC7AB44C}"/>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D44C117-3068-FAE4-8065-D6277A0FAC1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334512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ASHPAGE WE 2">
    <p:bg>
      <p:bgPr>
        <a:solidFill>
          <a:schemeClr val="bg1"/>
        </a:solidFill>
        <a:effectLst/>
      </p:bgPr>
    </p:bg>
    <p:spTree>
      <p:nvGrpSpPr>
        <p:cNvPr id="1" name=""/>
        <p:cNvGrpSpPr/>
        <p:nvPr/>
      </p:nvGrpSpPr>
      <p:grpSpPr>
        <a:xfrm>
          <a:off x="0" y="0"/>
          <a:ext cx="0" cy="0"/>
          <a:chOff x="0" y="0"/>
          <a:chExt cx="0" cy="0"/>
        </a:xfrm>
      </p:grpSpPr>
      <p:pic>
        <p:nvPicPr>
          <p:cNvPr id="57" name="Picture 2">
            <a:extLst>
              <a:ext uri="{FF2B5EF4-FFF2-40B4-BE49-F238E27FC236}">
                <a16:creationId xmlns:a16="http://schemas.microsoft.com/office/drawing/2014/main" id="{EEDDF8FE-E60C-4C1E-B6C0-8988D3D76054}"/>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392" y="494278"/>
            <a:ext cx="7282925" cy="6363721"/>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604A2C2B-9EE5-4F45-B951-1CD0A801AF1D}"/>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299" b="99485" l="0" r="45405">
                        <a14:foregroundMark x1="17568" y1="3299" x2="24775" y2="15979"/>
                        <a14:foregroundMark x1="9550" y1="38454" x2="23604" y2="78144"/>
                        <a14:foregroundMark x1="23604" y1="78144" x2="37748" y2="99485"/>
                        <a14:foregroundMark x1="36757" y1="38041" x2="1081" y2="93299"/>
                        <a14:foregroundMark x1="7387" y1="39897" x2="631" y2="43402"/>
                        <a14:foregroundMark x1="631" y1="43402" x2="0" y2="44948"/>
                        <a14:foregroundMark x1="40360" y1="48454" x2="45405" y2="65464"/>
                        <a14:foregroundMark x1="34595" y1="70722" x2="35766" y2="82784"/>
                        <a14:foregroundMark x1="9730" y1="94742" x2="13423" y2="98866"/>
                        <a14:foregroundMark x1="13784" y1="14845" x2="23153" y2="22062"/>
                        <a14:foregroundMark x1="21712" y1="15567" x2="23243" y2="22371"/>
                        <a14:foregroundMark x1="12613" y1="14845" x2="15495" y2="21856"/>
                        <a14:foregroundMark x1="9009" y1="18557" x2="9550" y2="20412"/>
                        <a14:foregroundMark x1="10270" y1="23711" x2="10541" y2="24948"/>
                        <a14:foregroundMark x1="10028" y1="25361" x2="10090" y2="26495"/>
                        <a14:foregroundMark x1="10000" y1="24845" x2="10028" y2="25361"/>
                        <a14:foregroundMark x1="10541" y1="27010" x2="11622" y2="26701"/>
                        <a14:foregroundMark x1="25225" y1="24845" x2="25676" y2="26289"/>
                        <a14:foregroundMark x1="25315" y1="26082" x2="25045" y2="27320"/>
                        <a14:foregroundMark x1="11351" y1="25258" x2="11351" y2="25258"/>
                        <a14:foregroundMark x1="12162" y1="34845" x2="12162" y2="34845"/>
                        <a14:foregroundMark x1="12703" y1="34536" x2="12703" y2="34536"/>
                        <a14:foregroundMark x1="10360" y1="37835" x2="10360" y2="37835"/>
                        <a14:foregroundMark x1="27658" y1="36392" x2="27658" y2="36392"/>
                        <a14:backgroundMark x1="31171" y1="26392" x2="42342" y2="31959"/>
                        <a14:backgroundMark x1="30090" y1="35258" x2="30090" y2="35258"/>
                        <a14:backgroundMark x1="33153" y1="35670" x2="36757" y2="36495"/>
                        <a14:backgroundMark x1="25045" y1="26186" x2="25045" y2="26186"/>
                        <a14:backgroundMark x1="9820" y1="23711" x2="9820" y2="23711"/>
                        <a14:backgroundMark x1="10901" y1="25361" x2="10901" y2="25361"/>
                        <a14:backgroundMark x1="10721" y1="24845" x2="10721" y2="24845"/>
                        <a14:backgroundMark x1="12072" y1="34845" x2="12072" y2="34845"/>
                      </a14:backgroundRemoval>
                    </a14:imgEffect>
                  </a14:imgLayer>
                </a14:imgProps>
              </a:ext>
              <a:ext uri="{28A0092B-C50C-407E-A947-70E740481C1C}">
                <a14:useLocalDpi xmlns:a14="http://schemas.microsoft.com/office/drawing/2010/main" val="0"/>
              </a:ext>
            </a:extLst>
          </a:blip>
          <a:srcRect t="2565" r="53566"/>
          <a:stretch/>
        </p:blipFill>
        <p:spPr bwMode="auto">
          <a:xfrm>
            <a:off x="-9046" y="691342"/>
            <a:ext cx="3368018" cy="617527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96000" y="233950"/>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8B3A30EB-C172-26A1-9FD9-4809EB817D2E}"/>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C1B678CF-FBEF-A14A-6A79-176FC9D5D478}"/>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1F5AE004-E92B-C7F3-66B4-D62AA451926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8B45206-BB52-3CBF-356C-FD44932F47A3}"/>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F9AD28AC-8EA5-9758-B638-9132DB654164}"/>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9388570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PAGE IMAGE BOTTOM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83" descr="A picture containing person&#10;&#10;Description automatically generated">
            <a:extLst>
              <a:ext uri="{FF2B5EF4-FFF2-40B4-BE49-F238E27FC236}">
                <a16:creationId xmlns:a16="http://schemas.microsoft.com/office/drawing/2014/main" id="{2BEA96F9-02D1-4229-BD4F-A862A957E8E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2476" y="3879878"/>
            <a:ext cx="3099286" cy="3099286"/>
          </a:xfrm>
          <a:prstGeom prst="ellipse">
            <a:avLst/>
          </a:prstGeom>
          <a:ln>
            <a:noFill/>
          </a:ln>
        </p:spPr>
      </p:pic>
      <p:sp>
        <p:nvSpPr>
          <p:cNvPr id="2" name="Text Placeholder 4">
            <a:extLst>
              <a:ext uri="{FF2B5EF4-FFF2-40B4-BE49-F238E27FC236}">
                <a16:creationId xmlns:a16="http://schemas.microsoft.com/office/drawing/2014/main" id="{51FCD209-EEC2-42E5-3DDA-BBF466EAF545}"/>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1B71656-2CAB-46DA-BC51-60AEF3CC794C}"/>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4463715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PAGE IMAGE BOTTOM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93" descr="A group of people sitting together smiling&#10;&#10;Description automatically generated with low confidence">
            <a:extLst>
              <a:ext uri="{FF2B5EF4-FFF2-40B4-BE49-F238E27FC236}">
                <a16:creationId xmlns:a16="http://schemas.microsoft.com/office/drawing/2014/main" id="{FDB658BD-59CB-4575-BA10-B7631BBE2C1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2997" y="3894637"/>
            <a:ext cx="3099286" cy="3099286"/>
          </a:xfrm>
          <a:prstGeom prst="ellipse">
            <a:avLst/>
          </a:prstGeom>
          <a:ln>
            <a:noFill/>
          </a:ln>
        </p:spPr>
      </p:pic>
      <p:sp>
        <p:nvSpPr>
          <p:cNvPr id="2" name="Text Placeholder 4">
            <a:extLst>
              <a:ext uri="{FF2B5EF4-FFF2-40B4-BE49-F238E27FC236}">
                <a16:creationId xmlns:a16="http://schemas.microsoft.com/office/drawing/2014/main" id="{96EB3F94-F48E-3B19-BC28-05A0BDF98A05}"/>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CAF3CA5-751A-2CCA-64A0-7AE7D1F4796E}"/>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91226973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PAGE IMAGE BOTTOM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78" descr="A picture containing person, nature, posing, night&#10;&#10;Description automatically generated">
            <a:extLst>
              <a:ext uri="{FF2B5EF4-FFF2-40B4-BE49-F238E27FC236}">
                <a16:creationId xmlns:a16="http://schemas.microsoft.com/office/drawing/2014/main" id="{CE3BAD35-B15E-4867-B64F-91EF87CAD9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2034" y="3902164"/>
            <a:ext cx="3099286" cy="3099286"/>
          </a:xfrm>
          <a:prstGeom prst="ellipse">
            <a:avLst/>
          </a:prstGeom>
          <a:ln>
            <a:noFill/>
          </a:ln>
        </p:spPr>
      </p:pic>
      <p:sp>
        <p:nvSpPr>
          <p:cNvPr id="2" name="Text Placeholder 4">
            <a:extLst>
              <a:ext uri="{FF2B5EF4-FFF2-40B4-BE49-F238E27FC236}">
                <a16:creationId xmlns:a16="http://schemas.microsoft.com/office/drawing/2014/main" id="{E5539E6B-5C46-5838-0FF3-49C76F065EBB}"/>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AF39962-C905-C9C9-58FB-ACBF9C13F920}"/>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25931567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PAGE IMAGE BOTTOM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88" descr="A picture containing person, table, indoor, food&#10;&#10;Description automatically generated">
            <a:extLst>
              <a:ext uri="{FF2B5EF4-FFF2-40B4-BE49-F238E27FC236}">
                <a16:creationId xmlns:a16="http://schemas.microsoft.com/office/drawing/2014/main" id="{443B7DCF-CD77-480D-99A9-9FD8FE86DB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70547"/>
            <a:ext cx="3099286" cy="3099286"/>
          </a:xfrm>
          <a:prstGeom prst="ellipse">
            <a:avLst/>
          </a:prstGeom>
          <a:ln>
            <a:noFill/>
          </a:ln>
        </p:spPr>
      </p:pic>
      <p:sp>
        <p:nvSpPr>
          <p:cNvPr id="2" name="Text Placeholder 4">
            <a:extLst>
              <a:ext uri="{FF2B5EF4-FFF2-40B4-BE49-F238E27FC236}">
                <a16:creationId xmlns:a16="http://schemas.microsoft.com/office/drawing/2014/main" id="{FD3B4FFF-1D34-BA70-A464-650E0ECC6818}"/>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89A3308-2DEF-F7A5-92DD-0A9172B03AB0}"/>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4565865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PAGE IMAGE BOTTOM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42" descr="A group of people posing for a photo&#10;&#10;Description automatically generated with medium confidence">
            <a:extLst>
              <a:ext uri="{FF2B5EF4-FFF2-40B4-BE49-F238E27FC236}">
                <a16:creationId xmlns:a16="http://schemas.microsoft.com/office/drawing/2014/main" id="{D9C6C32F-A67D-43A4-B6A2-6C535769DB2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0075" y="3887199"/>
            <a:ext cx="3099286" cy="3099286"/>
          </a:xfrm>
          <a:prstGeom prst="ellipse">
            <a:avLst/>
          </a:prstGeom>
          <a:ln>
            <a:noFill/>
          </a:ln>
        </p:spPr>
      </p:pic>
      <p:sp>
        <p:nvSpPr>
          <p:cNvPr id="2" name="Text Placeholder 4">
            <a:extLst>
              <a:ext uri="{FF2B5EF4-FFF2-40B4-BE49-F238E27FC236}">
                <a16:creationId xmlns:a16="http://schemas.microsoft.com/office/drawing/2014/main" id="{15A8739F-D054-0CC8-A201-3456FD33FADE}"/>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A5D77C0-EC29-3F62-8CF7-87644394F9B6}"/>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20609942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PAGE IMAGE BOTTOM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37">
            <a:extLst>
              <a:ext uri="{FF2B5EF4-FFF2-40B4-BE49-F238E27FC236}">
                <a16:creationId xmlns:a16="http://schemas.microsoft.com/office/drawing/2014/main" id="{8A194EB5-160B-44AE-8242-487F6D92BCF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3447" y="3875672"/>
            <a:ext cx="3099286" cy="3099286"/>
          </a:xfrm>
          <a:prstGeom prst="ellipse">
            <a:avLst/>
          </a:prstGeom>
          <a:ln>
            <a:noFill/>
          </a:ln>
        </p:spPr>
      </p:pic>
      <p:sp>
        <p:nvSpPr>
          <p:cNvPr id="2" name="Text Placeholder 4">
            <a:extLst>
              <a:ext uri="{FF2B5EF4-FFF2-40B4-BE49-F238E27FC236}">
                <a16:creationId xmlns:a16="http://schemas.microsoft.com/office/drawing/2014/main" id="{FF68B205-4774-024E-E7C5-5303481928EA}"/>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1BAB701-30F8-A3A9-FC27-FAF1368A180A}"/>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2049091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PAGE IMAGE BOTTOM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2" name="Picture Placeholder 32" descr="A picture containing person, young, child, blue&#10;&#10;Description automatically generated">
            <a:extLst>
              <a:ext uri="{FF2B5EF4-FFF2-40B4-BE49-F238E27FC236}">
                <a16:creationId xmlns:a16="http://schemas.microsoft.com/office/drawing/2014/main" id="{C33B0AB1-29FC-48E3-8DBC-E49844E4FF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9957" y="3885372"/>
            <a:ext cx="3099286" cy="3099286"/>
          </a:xfrm>
          <a:prstGeom prst="ellipse">
            <a:avLst/>
          </a:prstGeom>
          <a:ln>
            <a:noFill/>
          </a:ln>
        </p:spPr>
      </p:pic>
      <p:sp>
        <p:nvSpPr>
          <p:cNvPr id="2" name="Text Placeholder 4">
            <a:extLst>
              <a:ext uri="{FF2B5EF4-FFF2-40B4-BE49-F238E27FC236}">
                <a16:creationId xmlns:a16="http://schemas.microsoft.com/office/drawing/2014/main" id="{5EC48B3A-8F72-C0A9-D930-0A754B058E65}"/>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5F5DA4CA-4A73-35BB-0F61-1D0E0F01E9A4}"/>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58412273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PAGE IMAGE BOTTOM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27">
            <a:extLst>
              <a:ext uri="{FF2B5EF4-FFF2-40B4-BE49-F238E27FC236}">
                <a16:creationId xmlns:a16="http://schemas.microsoft.com/office/drawing/2014/main" id="{0398783E-4B82-4673-B152-445A093BBFD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1559" y="3904500"/>
            <a:ext cx="3099286" cy="3099286"/>
          </a:xfrm>
          <a:prstGeom prst="ellipse">
            <a:avLst/>
          </a:prstGeom>
          <a:ln>
            <a:noFill/>
          </a:ln>
        </p:spPr>
      </p:pic>
      <p:sp>
        <p:nvSpPr>
          <p:cNvPr id="2" name="Text Placeholder 4">
            <a:extLst>
              <a:ext uri="{FF2B5EF4-FFF2-40B4-BE49-F238E27FC236}">
                <a16:creationId xmlns:a16="http://schemas.microsoft.com/office/drawing/2014/main" id="{2218BBCE-CD97-AB48-79DE-93D512B42611}"/>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0BE829C-7CD2-3A51-A028-046DB795C529}"/>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78716411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PAGE IMAGE BOTTOM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0">
            <a:extLst>
              <a:ext uri="{FF2B5EF4-FFF2-40B4-BE49-F238E27FC236}">
                <a16:creationId xmlns:a16="http://schemas.microsoft.com/office/drawing/2014/main" id="{CF089419-B63A-448E-8C4B-1756A680E69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87847" y="3870353"/>
            <a:ext cx="3099286" cy="3099286"/>
          </a:xfrm>
          <a:prstGeom prst="ellipse">
            <a:avLst/>
          </a:prstGeom>
          <a:ln>
            <a:noFill/>
          </a:ln>
        </p:spPr>
      </p:pic>
      <p:sp>
        <p:nvSpPr>
          <p:cNvPr id="2" name="Text Placeholder 4">
            <a:extLst>
              <a:ext uri="{FF2B5EF4-FFF2-40B4-BE49-F238E27FC236}">
                <a16:creationId xmlns:a16="http://schemas.microsoft.com/office/drawing/2014/main" id="{E42BD090-D304-DCE1-AECC-CCFFF6C98771}"/>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6A7F575-41F5-50CB-130E-106344CD715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438152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PAGE IMAGE BOTTOM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5">
            <a:extLst>
              <a:ext uri="{FF2B5EF4-FFF2-40B4-BE49-F238E27FC236}">
                <a16:creationId xmlns:a16="http://schemas.microsoft.com/office/drawing/2014/main" id="{6A6263D6-E1C9-4223-935E-C582236E2A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2047" y="3883820"/>
            <a:ext cx="3099286" cy="3099286"/>
          </a:xfrm>
          <a:prstGeom prst="ellipse">
            <a:avLst/>
          </a:prstGeom>
          <a:ln>
            <a:noFill/>
          </a:ln>
        </p:spPr>
      </p:pic>
      <p:sp>
        <p:nvSpPr>
          <p:cNvPr id="2" name="Text Placeholder 4">
            <a:extLst>
              <a:ext uri="{FF2B5EF4-FFF2-40B4-BE49-F238E27FC236}">
                <a16:creationId xmlns:a16="http://schemas.microsoft.com/office/drawing/2014/main" id="{2C1CFFE2-D345-6580-3818-B8EE1BDD4718}"/>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DE957B4-114C-72AF-63C6-C27A0CB64166}"/>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19341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ASHPAGE WE 3">
    <p:bg>
      <p:bgPr>
        <a:solidFill>
          <a:schemeClr val="bg1"/>
        </a:solidFill>
        <a:effectLst/>
      </p:bgPr>
    </p:bg>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901E77CF-198E-4E69-A319-BCD113DCD8E2}"/>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4501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7BC4F56E-5262-406E-9578-4A2516DA62DD}"/>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9127" b="99688" l="96" r="38182">
                        <a14:foregroundMark x1="10622" y1="19127" x2="18182" y2="28586"/>
                        <a14:foregroundMark x1="17432" y1="19975" x2="22070" y2="29665"/>
                        <a14:foregroundMark x1="12057" y1="25572" x2="96" y2="49688"/>
                        <a14:foregroundMark x1="13110" y1="29210" x2="13397" y2="33472"/>
                        <a14:foregroundMark x1="27870" y1="30497" x2="24593" y2="74428"/>
                        <a14:foregroundMark x1="24593" y1="74428" x2="24593" y2="74428"/>
                        <a14:foregroundMark x1="31770" y1="48649" x2="33876" y2="63825"/>
                        <a14:foregroundMark x1="33876" y1="63825" x2="33493" y2="67048"/>
                        <a14:foregroundMark x1="29569" y1="58316" x2="28134" y2="69335"/>
                        <a14:foregroundMark x1="28134" y1="68295" x2="24880" y2="78067"/>
                        <a14:foregroundMark x1="24306" y1="71830" x2="23062" y2="88150"/>
                        <a14:foregroundMark x1="23062" y1="88150" x2="25167" y2="92827"/>
                        <a14:foregroundMark x1="11005" y1="84304" x2="6603" y2="96258"/>
                        <a14:foregroundMark x1="6603" y1="96258" x2="3158" y2="99792"/>
                        <a14:foregroundMark x1="4498" y1="81809" x2="3158" y2="96778"/>
                        <a14:foregroundMark x1="3158" y1="96778" x2="2871" y2="97505"/>
                        <a14:foregroundMark x1="9856" y1="94699" x2="19426" y2="98441"/>
                        <a14:foregroundMark x1="23349" y1="90333" x2="26411" y2="99896"/>
                        <a14:foregroundMark x1="24976" y1="92620" x2="28134" y2="99272"/>
                        <a14:foregroundMark x1="28134" y1="99272" x2="28134" y2="99272"/>
                        <a14:foregroundMark x1="27560" y1="85655" x2="27560" y2="85655"/>
                        <a14:foregroundMark x1="26603" y1="93555" x2="29187" y2="99896"/>
                        <a14:foregroundMark x1="34737" y1="33992" x2="38086" y2="35863"/>
                        <a14:foregroundMark x1="38182" y1="33160" x2="37608" y2="35551"/>
                        <a14:foregroundMark x1="36364" y1="32744" x2="37321" y2="33160"/>
                        <a14:foregroundMark x1="28038" y1="83992" x2="28038" y2="83992"/>
                        <a14:foregroundMark x1="28325" y1="68295" x2="31579" y2="72661"/>
                        <a14:backgroundMark x1="4402" y1="19751" x2="4211" y2="26403"/>
                        <a14:backgroundMark x1="15311" y1="18711" x2="17608" y2="19751"/>
                        <a14:backgroundMark x1="26316" y1="26299" x2="26603" y2="28690"/>
                        <a14:backgroundMark x1="26411" y1="27131" x2="23158" y2="30977"/>
                        <a14:backgroundMark x1="27368" y1="29210" x2="30144" y2="28690"/>
                        <a14:backgroundMark x1="20861" y1="34927" x2="20861" y2="34927"/>
                        <a14:backgroundMark x1="22105" y1="31913" x2="22105" y2="31913"/>
                        <a14:backgroundMark x1="4211" y1="30353" x2="4211" y2="30353"/>
                        <a14:backgroundMark x1="4306" y1="27651" x2="4306" y2="27651"/>
                        <a14:backgroundMark x1="4976" y1="25364" x2="4976" y2="27027"/>
                      </a14:backgroundRemoval>
                    </a14:imgEffect>
                  </a14:imgLayer>
                </a14:imgProps>
              </a:ext>
              <a:ext uri="{28A0092B-C50C-407E-A947-70E740481C1C}">
                <a14:useLocalDpi xmlns:a14="http://schemas.microsoft.com/office/drawing/2010/main" val="0"/>
              </a:ext>
            </a:extLst>
          </a:blip>
          <a:srcRect t="17576" r="59636"/>
          <a:stretch/>
        </p:blipFill>
        <p:spPr bwMode="auto">
          <a:xfrm>
            <a:off x="0" y="1205379"/>
            <a:ext cx="3007187" cy="565262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A88625F2-FC69-6AAA-40FB-7004F9AB6017}"/>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A56235DF-D5B0-60D0-BD0B-AAAABFAF86A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24C1BAAC-DF5C-DA31-6523-245676CDC3B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F62384F0-47D9-B3C7-C0C8-4787723F9D5D}"/>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B6029AA7-1707-C3BB-66C4-0FEC66AAED61}"/>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9775477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PAGE IMAGE BOTTOM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300">
            <a:extLst>
              <a:ext uri="{FF2B5EF4-FFF2-40B4-BE49-F238E27FC236}">
                <a16:creationId xmlns:a16="http://schemas.microsoft.com/office/drawing/2014/main" id="{004082D3-6256-49BE-972C-722630C460D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91675"/>
            <a:ext cx="3099286" cy="3099286"/>
          </a:xfrm>
          <a:prstGeom prst="ellipse">
            <a:avLst/>
          </a:prstGeom>
          <a:ln>
            <a:noFill/>
          </a:ln>
        </p:spPr>
      </p:pic>
      <p:sp>
        <p:nvSpPr>
          <p:cNvPr id="2" name="Text Placeholder 4">
            <a:extLst>
              <a:ext uri="{FF2B5EF4-FFF2-40B4-BE49-F238E27FC236}">
                <a16:creationId xmlns:a16="http://schemas.microsoft.com/office/drawing/2014/main" id="{AA34919F-E5AA-59C1-F491-16FB517EFF34}"/>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9C836CB-85BF-93C8-8EC3-C1E906F0843E}"/>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44152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PAGE IMAGE BOTTOM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305">
            <a:extLst>
              <a:ext uri="{FF2B5EF4-FFF2-40B4-BE49-F238E27FC236}">
                <a16:creationId xmlns:a16="http://schemas.microsoft.com/office/drawing/2014/main" id="{370EA77C-B79A-4A82-8FD7-2A64BA03F45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902654"/>
            <a:ext cx="3099286" cy="3099286"/>
          </a:xfrm>
          <a:prstGeom prst="ellipse">
            <a:avLst/>
          </a:prstGeom>
          <a:ln>
            <a:noFill/>
          </a:ln>
        </p:spPr>
      </p:pic>
      <p:sp>
        <p:nvSpPr>
          <p:cNvPr id="2" name="Text Placeholder 4">
            <a:extLst>
              <a:ext uri="{FF2B5EF4-FFF2-40B4-BE49-F238E27FC236}">
                <a16:creationId xmlns:a16="http://schemas.microsoft.com/office/drawing/2014/main" id="{AFEB6B1D-9CCE-9114-2420-B409480C0DA6}"/>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92B23F9-4C34-9DA0-DA67-297CF7068D62}"/>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5208383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PAGE IMAGE BOTTOM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1" name="Circle: Hollow 10">
            <a:extLst>
              <a:ext uri="{FF2B5EF4-FFF2-40B4-BE49-F238E27FC236}">
                <a16:creationId xmlns:a16="http://schemas.microsoft.com/office/drawing/2014/main" id="{782D810F-1659-482E-9430-E9950F8D5FA8}"/>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87167849-46A9-46ED-B2FD-631A5A019959}"/>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8" descr="A picture containing group, outdoor object, several&#10;&#10;Description automatically generated">
            <a:extLst>
              <a:ext uri="{FF2B5EF4-FFF2-40B4-BE49-F238E27FC236}">
                <a16:creationId xmlns:a16="http://schemas.microsoft.com/office/drawing/2014/main" id="{DF153A97-3AF5-4135-AE2D-80910CB0D75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9221" y="3894028"/>
            <a:ext cx="3099286" cy="3099286"/>
          </a:xfrm>
          <a:prstGeom prst="ellipse">
            <a:avLst/>
          </a:prstGeom>
          <a:ln>
            <a:noFill/>
          </a:ln>
        </p:spPr>
      </p:pic>
      <p:sp>
        <p:nvSpPr>
          <p:cNvPr id="2" name="Text Placeholder 4">
            <a:extLst>
              <a:ext uri="{FF2B5EF4-FFF2-40B4-BE49-F238E27FC236}">
                <a16:creationId xmlns:a16="http://schemas.microsoft.com/office/drawing/2014/main" id="{4B9BE4A9-B99A-3A55-7CCF-614213AE8878}"/>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4381341-E55E-1CD6-7CC0-1825339BE1BD}"/>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41169314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PAGE IMAGE BOTTOM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7" name="Circle: Hollow 6">
            <a:extLst>
              <a:ext uri="{FF2B5EF4-FFF2-40B4-BE49-F238E27FC236}">
                <a16:creationId xmlns:a16="http://schemas.microsoft.com/office/drawing/2014/main" id="{A97BC6BC-FCCF-4035-B522-792DA2EB4FCC}"/>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9" name="Circle: Hollow 8">
            <a:extLst>
              <a:ext uri="{FF2B5EF4-FFF2-40B4-BE49-F238E27FC236}">
                <a16:creationId xmlns:a16="http://schemas.microsoft.com/office/drawing/2014/main" id="{36EDA751-9BE6-402F-ADB0-9FB4CD24CA98}"/>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1" name="Picture Placeholder 22">
            <a:extLst>
              <a:ext uri="{FF2B5EF4-FFF2-40B4-BE49-F238E27FC236}">
                <a16:creationId xmlns:a16="http://schemas.microsoft.com/office/drawing/2014/main" id="{F62FB39F-C8B6-4D33-9D64-CD081FEA6D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77566" y="3875672"/>
            <a:ext cx="3099286" cy="3099286"/>
          </a:xfrm>
          <a:prstGeom prst="ellipse">
            <a:avLst/>
          </a:prstGeom>
          <a:ln>
            <a:noFill/>
          </a:ln>
        </p:spPr>
      </p:pic>
      <p:sp>
        <p:nvSpPr>
          <p:cNvPr id="2" name="Text Placeholder 4">
            <a:extLst>
              <a:ext uri="{FF2B5EF4-FFF2-40B4-BE49-F238E27FC236}">
                <a16:creationId xmlns:a16="http://schemas.microsoft.com/office/drawing/2014/main" id="{C0930490-0BC2-6968-37CE-ACA2A21039C4}"/>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33B2DF5-F050-C049-FF45-4ED4B922CE73}"/>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28688131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PAGE IMAGE BOTTOM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660F7EF0-9E80-47B6-BA1C-0A8975B5B99B}"/>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87E70D84-CA57-4A62-A85F-13AACCB4B371}"/>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9" name="Picture Placeholder 13">
            <a:extLst>
              <a:ext uri="{FF2B5EF4-FFF2-40B4-BE49-F238E27FC236}">
                <a16:creationId xmlns:a16="http://schemas.microsoft.com/office/drawing/2014/main" id="{292C2F56-A34B-4793-B59C-B129297043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80025"/>
            <a:ext cx="3099286" cy="3099286"/>
          </a:xfrm>
          <a:prstGeom prst="ellipse">
            <a:avLst/>
          </a:prstGeom>
          <a:ln>
            <a:noFill/>
          </a:ln>
        </p:spPr>
      </p:pic>
      <p:sp>
        <p:nvSpPr>
          <p:cNvPr id="2" name="Text Placeholder 4">
            <a:extLst>
              <a:ext uri="{FF2B5EF4-FFF2-40B4-BE49-F238E27FC236}">
                <a16:creationId xmlns:a16="http://schemas.microsoft.com/office/drawing/2014/main" id="{94F970AB-A9F6-6011-A348-35C590E8EBC7}"/>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722764F-50EC-0656-BAC5-240D692B0A77}"/>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635315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PAGE IMAGE BOTTOM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8" name="Circle: Hollow 7">
            <a:extLst>
              <a:ext uri="{FF2B5EF4-FFF2-40B4-BE49-F238E27FC236}">
                <a16:creationId xmlns:a16="http://schemas.microsoft.com/office/drawing/2014/main" id="{ED89E262-300D-4549-BAE2-2AA6359CD5BD}"/>
              </a:ext>
            </a:extLst>
          </p:cNvPr>
          <p:cNvSpPr>
            <a:spLocks noChangeAspect="1"/>
          </p:cNvSpPr>
          <p:nvPr userDrawn="1"/>
        </p:nvSpPr>
        <p:spPr>
          <a:xfrm>
            <a:off x="-469834" y="3613201"/>
            <a:ext cx="3670234" cy="3634844"/>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C4992B1-A515-422C-BCE7-79A9CFA6DBB3}"/>
              </a:ext>
            </a:extLst>
          </p:cNvPr>
          <p:cNvSpPr>
            <a:spLocks noChangeAspect="1"/>
          </p:cNvSpPr>
          <p:nvPr userDrawn="1"/>
        </p:nvSpPr>
        <p:spPr>
          <a:xfrm>
            <a:off x="-382986" y="3705513"/>
            <a:ext cx="3480351" cy="3446791"/>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2" name="Picture Placeholder 2">
            <a:extLst>
              <a:ext uri="{FF2B5EF4-FFF2-40B4-BE49-F238E27FC236}">
                <a16:creationId xmlns:a16="http://schemas.microsoft.com/office/drawing/2014/main" id="{7AA559C4-4573-4F1C-BFBA-03E905C28250}"/>
              </a:ext>
            </a:extLst>
          </p:cNvPr>
          <p:cNvSpPr>
            <a:spLocks noGrp="1" noChangeAspect="1"/>
          </p:cNvSpPr>
          <p:nvPr>
            <p:ph type="pic" sz="quarter" idx="10"/>
          </p:nvPr>
        </p:nvSpPr>
        <p:spPr>
          <a:xfrm>
            <a:off x="-200536" y="3878440"/>
            <a:ext cx="3099286" cy="3099286"/>
          </a:xfrm>
          <a:prstGeom prst="ellipse">
            <a:avLst/>
          </a:prstGeom>
          <a:ln>
            <a:noFill/>
          </a:ln>
        </p:spPr>
        <p:txBody>
          <a:bodyPr/>
          <a:lstStyle/>
          <a:p>
            <a:endParaRPr lang="nl-NL"/>
          </a:p>
        </p:txBody>
      </p:sp>
      <p:sp>
        <p:nvSpPr>
          <p:cNvPr id="2" name="Text Placeholder 4">
            <a:extLst>
              <a:ext uri="{FF2B5EF4-FFF2-40B4-BE49-F238E27FC236}">
                <a16:creationId xmlns:a16="http://schemas.microsoft.com/office/drawing/2014/main" id="{4D9D7510-67E6-ADEE-8F06-3694F353363B}"/>
              </a:ext>
            </a:extLst>
          </p:cNvPr>
          <p:cNvSpPr>
            <a:spLocks noGrp="1"/>
          </p:cNvSpPr>
          <p:nvPr>
            <p:ph type="body" sz="quarter" idx="11"/>
          </p:nvPr>
        </p:nvSpPr>
        <p:spPr>
          <a:xfrm>
            <a:off x="4187102" y="1025165"/>
            <a:ext cx="7482997" cy="5505467"/>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1505969-F73C-AA2F-6467-D6BC909A4244}"/>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93399997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PAGE IMAGE BOTTOM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8" name="Picture Placeholder 48">
            <a:extLst>
              <a:ext uri="{FF2B5EF4-FFF2-40B4-BE49-F238E27FC236}">
                <a16:creationId xmlns:a16="http://schemas.microsoft.com/office/drawing/2014/main" id="{D7211C63-4E70-45D7-BCDB-296FA0825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5287" y="3860828"/>
            <a:ext cx="3135814" cy="3135814"/>
          </a:xfrm>
          <a:prstGeom prst="ellipse">
            <a:avLst/>
          </a:prstGeom>
          <a:ln>
            <a:noFill/>
          </a:ln>
        </p:spPr>
      </p:pic>
      <p:sp>
        <p:nvSpPr>
          <p:cNvPr id="2" name="Text Placeholder 4">
            <a:extLst>
              <a:ext uri="{FF2B5EF4-FFF2-40B4-BE49-F238E27FC236}">
                <a16:creationId xmlns:a16="http://schemas.microsoft.com/office/drawing/2014/main" id="{8FB74730-EACE-9ACD-B68F-7CBB63F63F0F}"/>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Tree>
    <p:extLst>
      <p:ext uri="{BB962C8B-B14F-4D97-AF65-F5344CB8AC3E}">
        <p14:creationId xmlns:p14="http://schemas.microsoft.com/office/powerpoint/2010/main" val="316506728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PAGE IMAGE BOTTOM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5">
            <a:extLst>
              <a:ext uri="{FF2B5EF4-FFF2-40B4-BE49-F238E27FC236}">
                <a16:creationId xmlns:a16="http://schemas.microsoft.com/office/drawing/2014/main" id="{9E995809-9436-4F21-A643-F2954160E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2557" y="3875512"/>
            <a:ext cx="3139355" cy="3139355"/>
          </a:xfrm>
          <a:prstGeom prst="ellipse">
            <a:avLst/>
          </a:prstGeom>
          <a:ln>
            <a:noFill/>
          </a:ln>
        </p:spPr>
      </p:pic>
      <p:sp>
        <p:nvSpPr>
          <p:cNvPr id="2" name="Text Placeholder 4">
            <a:extLst>
              <a:ext uri="{FF2B5EF4-FFF2-40B4-BE49-F238E27FC236}">
                <a16:creationId xmlns:a16="http://schemas.microsoft.com/office/drawing/2014/main" id="{4C50A551-1129-64D1-73AC-7ACF792F9B5E}"/>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B1B9C21-0388-0F5E-22EC-5B74DD1F9ED4}"/>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55127411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PAGE IMAGE BOTTOM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16">
            <a:extLst>
              <a:ext uri="{FF2B5EF4-FFF2-40B4-BE49-F238E27FC236}">
                <a16:creationId xmlns:a16="http://schemas.microsoft.com/office/drawing/2014/main" id="{AF17F5CB-58E7-4AA1-BB08-68518425C28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0748" y="3871619"/>
            <a:ext cx="3139355" cy="3139355"/>
          </a:xfrm>
          <a:prstGeom prst="ellipse">
            <a:avLst/>
          </a:prstGeom>
          <a:ln>
            <a:noFill/>
          </a:ln>
        </p:spPr>
      </p:pic>
      <p:sp>
        <p:nvSpPr>
          <p:cNvPr id="2" name="Text Placeholder 4">
            <a:extLst>
              <a:ext uri="{FF2B5EF4-FFF2-40B4-BE49-F238E27FC236}">
                <a16:creationId xmlns:a16="http://schemas.microsoft.com/office/drawing/2014/main" id="{C5E28783-6439-657D-952D-806C92FD6B74}"/>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5BD6B8A-6ECD-8743-9A25-46DD73150D6B}"/>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97589074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PAGE IMAGE BOTTOM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53">
            <a:extLst>
              <a:ext uri="{FF2B5EF4-FFF2-40B4-BE49-F238E27FC236}">
                <a16:creationId xmlns:a16="http://schemas.microsoft.com/office/drawing/2014/main" id="{1E7961BA-891F-4CAC-99A0-C091EA5DF03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774"/>
          <a:stretch/>
        </p:blipFill>
        <p:spPr>
          <a:xfrm>
            <a:off x="-193671" y="3870993"/>
            <a:ext cx="3117846" cy="3117846"/>
          </a:xfrm>
          <a:prstGeom prst="ellipse">
            <a:avLst/>
          </a:prstGeom>
          <a:ln>
            <a:noFill/>
          </a:ln>
        </p:spPr>
      </p:pic>
      <p:sp>
        <p:nvSpPr>
          <p:cNvPr id="2" name="Text Placeholder 4">
            <a:extLst>
              <a:ext uri="{FF2B5EF4-FFF2-40B4-BE49-F238E27FC236}">
                <a16:creationId xmlns:a16="http://schemas.microsoft.com/office/drawing/2014/main" id="{16882CBF-992B-06F1-ACA2-99C833370FFA}"/>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B8D6674-30B8-5D6A-3D95-EB8903960D7F}"/>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196533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LASHPAGE OTHER 1">
    <p:bg>
      <p:bgPr>
        <a:solidFill>
          <a:schemeClr val="bg1"/>
        </a:solidFill>
        <a:effectLst/>
      </p:bgPr>
    </p:bg>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71BF89A0-1ED4-4B9E-ADA5-5D2253BD0EC4}"/>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638" y="-1"/>
            <a:ext cx="7961613" cy="686239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B2D4EBE8-CEE6-E3C2-5CA9-5E656E4E1C2D}"/>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A4739A1B-4BE1-4ED4-C6B7-F14CDEA6D73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85AFAE57-355C-62E9-E403-BA1D560DEB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AEA50F90-3DF4-6476-DF1A-7B745CBB17E4}"/>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5F951137-54CE-1672-1D9C-3836C23760B0}"/>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1808025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PAGE IMAGE BOTTOM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110" descr="A group of people on a street&#10;&#10;Description automatically generated with low confidence">
            <a:extLst>
              <a:ext uri="{FF2B5EF4-FFF2-40B4-BE49-F238E27FC236}">
                <a16:creationId xmlns:a16="http://schemas.microsoft.com/office/drawing/2014/main" id="{225F5785-36E8-4012-ADBF-807C1A3DB2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3302" y="3874079"/>
            <a:ext cx="3099286" cy="3099286"/>
          </a:xfrm>
          <a:prstGeom prst="ellipse">
            <a:avLst/>
          </a:prstGeom>
          <a:ln>
            <a:noFill/>
          </a:ln>
        </p:spPr>
      </p:pic>
      <p:sp>
        <p:nvSpPr>
          <p:cNvPr id="2" name="Text Placeholder 4">
            <a:extLst>
              <a:ext uri="{FF2B5EF4-FFF2-40B4-BE49-F238E27FC236}">
                <a16:creationId xmlns:a16="http://schemas.microsoft.com/office/drawing/2014/main" id="{07B43CEA-775B-1611-A357-F459FD5B4E26}"/>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7FB119E-ACB3-825A-0746-4495C50518B6}"/>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44774958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PAGE IMAGE BOTTOM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00" descr="A picture containing person&#10;&#10;Description automatically generated">
            <a:extLst>
              <a:ext uri="{FF2B5EF4-FFF2-40B4-BE49-F238E27FC236}">
                <a16:creationId xmlns:a16="http://schemas.microsoft.com/office/drawing/2014/main" id="{B11D5694-5DEE-4DB6-BAD5-386B1EF1DC5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201572" y="3887946"/>
            <a:ext cx="3099286" cy="3099286"/>
          </a:xfrm>
          <a:prstGeom prst="ellipse">
            <a:avLst/>
          </a:prstGeom>
          <a:ln>
            <a:noFill/>
          </a:ln>
        </p:spPr>
      </p:pic>
      <p:sp>
        <p:nvSpPr>
          <p:cNvPr id="2" name="Text Placeholder 4">
            <a:extLst>
              <a:ext uri="{FF2B5EF4-FFF2-40B4-BE49-F238E27FC236}">
                <a16:creationId xmlns:a16="http://schemas.microsoft.com/office/drawing/2014/main" id="{1C173192-5336-0151-0150-227934D1A49B}"/>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3F911065-D674-7F28-196D-20ECCD6CC8A5}"/>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77081743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PAGE IMAGE BOTTOM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115">
            <a:extLst>
              <a:ext uri="{FF2B5EF4-FFF2-40B4-BE49-F238E27FC236}">
                <a16:creationId xmlns:a16="http://schemas.microsoft.com/office/drawing/2014/main" id="{4AB86334-66A0-49E3-9BC7-D268DD2B8C6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236037" y="3883114"/>
            <a:ext cx="3188242" cy="3099286"/>
          </a:xfrm>
          <a:prstGeom prst="ellipse">
            <a:avLst/>
          </a:prstGeom>
          <a:ln>
            <a:noFill/>
          </a:ln>
        </p:spPr>
      </p:pic>
      <p:sp>
        <p:nvSpPr>
          <p:cNvPr id="2" name="Text Placeholder 4">
            <a:extLst>
              <a:ext uri="{FF2B5EF4-FFF2-40B4-BE49-F238E27FC236}">
                <a16:creationId xmlns:a16="http://schemas.microsoft.com/office/drawing/2014/main" id="{2196BBEF-82B4-E3F0-9B57-1EA910B06821}"/>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039CD2D-3E34-DC97-01CC-6FCB38A92EA0}"/>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9755500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PAGE IMAGE BOTTOM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105">
            <a:extLst>
              <a:ext uri="{FF2B5EF4-FFF2-40B4-BE49-F238E27FC236}">
                <a16:creationId xmlns:a16="http://schemas.microsoft.com/office/drawing/2014/main" id="{3431807D-63FE-497C-BD67-8A68B9173F6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rot="19847395">
            <a:off x="-192047" y="3870546"/>
            <a:ext cx="3099286" cy="3099286"/>
          </a:xfrm>
          <a:prstGeom prst="ellipse">
            <a:avLst/>
          </a:prstGeom>
          <a:ln>
            <a:noFill/>
          </a:ln>
        </p:spPr>
      </p:pic>
      <p:sp>
        <p:nvSpPr>
          <p:cNvPr id="2" name="Text Placeholder 4">
            <a:extLst>
              <a:ext uri="{FF2B5EF4-FFF2-40B4-BE49-F238E27FC236}">
                <a16:creationId xmlns:a16="http://schemas.microsoft.com/office/drawing/2014/main" id="{EA31FA30-15FE-35BA-56FF-B59B64A418D4}"/>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0E22D5D-6E84-1DEE-AF9B-7D1B5F09F29B}"/>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55817201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PAGE IMAGE BOTTOM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59" descr="A group of people posing for the camera&#10;&#10;Description automatically generated">
            <a:extLst>
              <a:ext uri="{FF2B5EF4-FFF2-40B4-BE49-F238E27FC236}">
                <a16:creationId xmlns:a16="http://schemas.microsoft.com/office/drawing/2014/main" id="{8BA5FB57-078F-4B47-AF95-640ACAB77FD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4412" y="3876776"/>
            <a:ext cx="3099286" cy="3099286"/>
          </a:xfrm>
          <a:prstGeom prst="ellipse">
            <a:avLst/>
          </a:prstGeom>
          <a:ln>
            <a:noFill/>
          </a:ln>
        </p:spPr>
      </p:pic>
      <p:sp>
        <p:nvSpPr>
          <p:cNvPr id="2" name="Text Placeholder 4">
            <a:extLst>
              <a:ext uri="{FF2B5EF4-FFF2-40B4-BE49-F238E27FC236}">
                <a16:creationId xmlns:a16="http://schemas.microsoft.com/office/drawing/2014/main" id="{8EE04900-C7BB-816D-AA87-9B597C188912}"/>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47AF181-926A-17D7-995C-072FDA86E08A}"/>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8502196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PAGE IMAGE BOTTOM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68" descr="A picture containing tree, outdoor, person, dancer&#10;&#10;Description automatically generated">
            <a:extLst>
              <a:ext uri="{FF2B5EF4-FFF2-40B4-BE49-F238E27FC236}">
                <a16:creationId xmlns:a16="http://schemas.microsoft.com/office/drawing/2014/main" id="{F711B68A-6DF4-479C-AE44-0AA34B15BBE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6192" y="3885112"/>
            <a:ext cx="3099286" cy="3099286"/>
          </a:xfrm>
          <a:prstGeom prst="ellipse">
            <a:avLst/>
          </a:prstGeom>
          <a:ln>
            <a:noFill/>
          </a:ln>
        </p:spPr>
      </p:pic>
      <p:sp>
        <p:nvSpPr>
          <p:cNvPr id="2" name="Text Placeholder 4">
            <a:extLst>
              <a:ext uri="{FF2B5EF4-FFF2-40B4-BE49-F238E27FC236}">
                <a16:creationId xmlns:a16="http://schemas.microsoft.com/office/drawing/2014/main" id="{FE3FC44C-B20D-AB03-79C6-D86A3E1E0286}"/>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7B3D3D8-E56E-2C86-285E-8A1BA7BC140A}"/>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2941342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PAGE IMAGE BOTTOM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49" descr="A person smiling for the camera&#10;&#10;Description automatically generated with low confidence">
            <a:extLst>
              <a:ext uri="{FF2B5EF4-FFF2-40B4-BE49-F238E27FC236}">
                <a16:creationId xmlns:a16="http://schemas.microsoft.com/office/drawing/2014/main" id="{935FA9BF-2295-4B29-BC3E-3C8AF72F390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1512"/>
          <a:stretch/>
        </p:blipFill>
        <p:spPr>
          <a:xfrm>
            <a:off x="-191559" y="3880025"/>
            <a:ext cx="3099286" cy="3099286"/>
          </a:xfrm>
          <a:prstGeom prst="ellipse">
            <a:avLst/>
          </a:prstGeom>
          <a:ln>
            <a:noFill/>
          </a:ln>
        </p:spPr>
      </p:pic>
      <p:sp>
        <p:nvSpPr>
          <p:cNvPr id="2" name="Text Placeholder 4">
            <a:extLst>
              <a:ext uri="{FF2B5EF4-FFF2-40B4-BE49-F238E27FC236}">
                <a16:creationId xmlns:a16="http://schemas.microsoft.com/office/drawing/2014/main" id="{4AE82E02-6B0B-A577-B2F2-135213BC524B}"/>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2A3CCE6-2AF8-D61E-B8B2-864E58C43BAE}"/>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60560790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PAGE IMAGE BOTTOM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54">
            <a:extLst>
              <a:ext uri="{FF2B5EF4-FFF2-40B4-BE49-F238E27FC236}">
                <a16:creationId xmlns:a16="http://schemas.microsoft.com/office/drawing/2014/main" id="{E722BDB4-AFBC-4CF8-9637-2C7A1C096BF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0185" y="3903063"/>
            <a:ext cx="3099286" cy="3099286"/>
          </a:xfrm>
          <a:prstGeom prst="ellipse">
            <a:avLst/>
          </a:prstGeom>
          <a:ln>
            <a:noFill/>
          </a:ln>
        </p:spPr>
      </p:pic>
      <p:sp>
        <p:nvSpPr>
          <p:cNvPr id="2" name="Text Placeholder 4">
            <a:extLst>
              <a:ext uri="{FF2B5EF4-FFF2-40B4-BE49-F238E27FC236}">
                <a16:creationId xmlns:a16="http://schemas.microsoft.com/office/drawing/2014/main" id="{300158F2-B5A0-9EE0-1CE8-CA53150D371A}"/>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7708E08-C756-E7D6-B066-13C33EF2F719}"/>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62031009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PAGE IMAGE BOTTOM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3" name="Picture Placeholder 327">
            <a:extLst>
              <a:ext uri="{FF2B5EF4-FFF2-40B4-BE49-F238E27FC236}">
                <a16:creationId xmlns:a16="http://schemas.microsoft.com/office/drawing/2014/main" id="{86EC53AA-B894-44D7-AF2F-06DC7099700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1965" y="3870353"/>
            <a:ext cx="3099286" cy="3099286"/>
          </a:xfrm>
          <a:prstGeom prst="ellipse">
            <a:avLst/>
          </a:prstGeom>
          <a:ln>
            <a:noFill/>
          </a:ln>
        </p:spPr>
      </p:pic>
      <p:sp>
        <p:nvSpPr>
          <p:cNvPr id="2" name="Text Placeholder 4">
            <a:extLst>
              <a:ext uri="{FF2B5EF4-FFF2-40B4-BE49-F238E27FC236}">
                <a16:creationId xmlns:a16="http://schemas.microsoft.com/office/drawing/2014/main" id="{14F483C1-B49C-330F-752A-78787FE57A8C}"/>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FEDC34F-D8B8-9A54-623B-FACC150DC237}"/>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17947278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PAGE IMAGE BOTTOM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322">
            <a:extLst>
              <a:ext uri="{FF2B5EF4-FFF2-40B4-BE49-F238E27FC236}">
                <a16:creationId xmlns:a16="http://schemas.microsoft.com/office/drawing/2014/main" id="{F0503EE0-A034-4D08-A44B-F3FAD7DB1B7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92047" y="3885112"/>
            <a:ext cx="3099286" cy="3099286"/>
          </a:xfrm>
          <a:prstGeom prst="ellipse">
            <a:avLst/>
          </a:prstGeom>
          <a:ln>
            <a:noFill/>
          </a:ln>
        </p:spPr>
      </p:pic>
      <p:sp>
        <p:nvSpPr>
          <p:cNvPr id="2" name="Text Placeholder 4">
            <a:extLst>
              <a:ext uri="{FF2B5EF4-FFF2-40B4-BE49-F238E27FC236}">
                <a16:creationId xmlns:a16="http://schemas.microsoft.com/office/drawing/2014/main" id="{3C159B47-D0BD-9EFA-DDC5-404E9843B19D}"/>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E77CB58-4B79-7AF7-29CD-A4BA721406BB}"/>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43991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LASHPAGE OTHER 2">
    <p:bg>
      <p:bgPr>
        <a:solidFill>
          <a:schemeClr val="bg1"/>
        </a:solidFill>
        <a:effectLst/>
      </p:bgPr>
    </p:bg>
    <p:spTree>
      <p:nvGrpSpPr>
        <p:cNvPr id="1" name=""/>
        <p:cNvGrpSpPr/>
        <p:nvPr/>
      </p:nvGrpSpPr>
      <p:grpSpPr>
        <a:xfrm>
          <a:off x="0" y="0"/>
          <a:ext cx="0" cy="0"/>
          <a:chOff x="0" y="0"/>
          <a:chExt cx="0" cy="0"/>
        </a:xfrm>
      </p:grpSpPr>
      <p:pic>
        <p:nvPicPr>
          <p:cNvPr id="14338" name="Picture 2">
            <a:extLst>
              <a:ext uri="{FF2B5EF4-FFF2-40B4-BE49-F238E27FC236}">
                <a16:creationId xmlns:a16="http://schemas.microsoft.com/office/drawing/2014/main" id="{2537D922-E4E8-49DC-B9E7-B6F010A50136}"/>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6787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91A12299-FFD0-456E-A436-9898388F9DD4}"/>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0144" b="82297" l="107" r="62073">
                        <a14:foregroundMark x1="107" y1="47608" x2="1709" y2="56459"/>
                        <a14:foregroundMark x1="12738" y1="64682" x2="43590" y2="75957"/>
                        <a14:foregroundMark x1="2350" y1="60885" x2="4250" y2="61579"/>
                        <a14:foregroundMark x1="43590" y1="75957" x2="56517" y2="78230"/>
                        <a14:foregroundMark x1="5401" y1="64408" x2="13248" y2="82297"/>
                        <a14:foregroundMark x1="37607" y1="30263" x2="39957" y2="35526"/>
                        <a14:foregroundMark x1="58761" y1="38517" x2="58226" y2="41986"/>
                        <a14:foregroundMark x1="58994" y1="48565" x2="58974" y2="49880"/>
                        <a14:foregroundMark x1="59025" y1="46522" x2="59019" y2="46890"/>
                        <a14:foregroundMark x1="59081" y1="42823" x2="59062" y2="44106"/>
                        <a14:foregroundMark x1="60897" y1="52273" x2="60897" y2="58732"/>
                        <a14:foregroundMark x1="62073" y1="66148" x2="55769" y2="75239"/>
                        <a14:foregroundMark x1="55769" y1="75239" x2="55342" y2="75598"/>
                        <a14:foregroundMark x1="19017" y1="60287" x2="26068" y2="60526"/>
                        <a14:foregroundMark x1="26068" y1="60526" x2="35043" y2="60167"/>
                        <a14:foregroundMark x1="35043" y1="60167" x2="35470" y2="60048"/>
                        <a14:backgroundMark x1="3526" y1="48565" x2="6197" y2="57536"/>
                        <a14:backgroundMark x1="50962" y1="54067" x2="50855" y2="64952"/>
                        <a14:backgroundMark x1="50855" y1="64952" x2="50855" y2="64952"/>
                        <a14:backgroundMark x1="58761" y1="44019" x2="58226" y2="46292"/>
                        <a14:backgroundMark x1="58761" y1="46651" x2="58761" y2="46651"/>
                        <a14:backgroundMark x1="58761" y1="46890" x2="58761" y2="48565"/>
                        <a14:backgroundMark x1="534" y1="62919" x2="2350" y2="64833"/>
                        <a14:backgroundMark x1="4487" y1="63278" x2="5662" y2="64115"/>
                        <a14:backgroundMark x1="4060" y1="62560" x2="5342" y2="62679"/>
                        <a14:backgroundMark x1="5449" y1="64593" x2="5449" y2="64593"/>
                        <a14:backgroundMark x1="5983" y1="62201" x2="5449" y2="64474"/>
                        <a14:backgroundMark x1="6624" y1="62560" x2="11432" y2="63995"/>
                        <a14:backgroundMark x1="12714" y1="62201" x2="13782" y2="63995"/>
                        <a14:backgroundMark x1="14850" y1="63038" x2="20513" y2="63158"/>
                        <a14:backgroundMark x1="17968" y1="62097" x2="19444" y2="62201"/>
                        <a14:backgroundMark x1="21304" y1="62105" x2="21154" y2="62440"/>
                        <a14:backgroundMark x1="22543" y1="62081" x2="23397" y2="62799"/>
                        <a14:backgroundMark x1="26380" y1="62202" x2="26923" y2="63158"/>
                        <a14:backgroundMark x1="25852" y1="62259" x2="27671" y2="63278"/>
                        <a14:backgroundMark x1="29292" y1="62086" x2="30449" y2="62919"/>
                        <a14:backgroundMark x1="33883" y1="62253" x2="35363" y2="63038"/>
                        <a14:backgroundMark x1="34081" y1="63278" x2="35256" y2="63278"/>
                        <a14:backgroundMark x1="31554" y1="61996" x2="32372" y2="63278"/>
                        <a14:backgroundMark x1="31410" y1="62560" x2="31303" y2="63278"/>
                        <a14:backgroundMark x1="29382" y1="58705" x2="27671" y2="58254"/>
                        <a14:backgroundMark x1="38034" y1="57656" x2="36218" y2="58134"/>
                        <a14:backgroundMark x1="33120" y1="57416" x2="33120" y2="57416"/>
                        <a14:backgroundMark x1="47543" y1="65789" x2="48825" y2="68301"/>
                        <a14:backgroundMark x1="60791" y1="66148" x2="60791" y2="66148"/>
                        <a14:backgroundMark x1="40705" y1="65909" x2="41667" y2="67464"/>
                      </a14:backgroundRemoval>
                    </a14:imgEffect>
                  </a14:imgLayer>
                </a14:imgProps>
              </a:ext>
              <a:ext uri="{28A0092B-C50C-407E-A947-70E740481C1C}">
                <a14:useLocalDpi xmlns:a14="http://schemas.microsoft.com/office/drawing/2010/main" val="0"/>
              </a:ext>
            </a:extLst>
          </a:blip>
          <a:srcRect t="29007" r="33283" b="16293"/>
          <a:stretch/>
        </p:blipFill>
        <p:spPr bwMode="auto">
          <a:xfrm>
            <a:off x="1" y="1989252"/>
            <a:ext cx="5123072" cy="375135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BC77738E-1E5F-79DC-445F-DAA3B205B7B3}"/>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33758B7B-40C0-B729-9069-F657C381D72D}"/>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DF189606-D64C-3CAD-CFE1-ABA763AD072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1DD7633B-F760-E395-157B-55FD8FD547C9}"/>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1FD53DCD-6951-926D-67CB-10C06DE8127A}"/>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9049985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PAGE IMAGE BOTTOM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312">
            <a:extLst>
              <a:ext uri="{FF2B5EF4-FFF2-40B4-BE49-F238E27FC236}">
                <a16:creationId xmlns:a16="http://schemas.microsoft.com/office/drawing/2014/main" id="{BD24E543-1458-43DD-BFC5-0D7FF1B21DC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91559" y="3886289"/>
            <a:ext cx="3099286" cy="3099286"/>
          </a:xfrm>
          <a:prstGeom prst="ellipse">
            <a:avLst/>
          </a:prstGeom>
          <a:ln>
            <a:noFill/>
          </a:ln>
        </p:spPr>
      </p:pic>
      <p:sp>
        <p:nvSpPr>
          <p:cNvPr id="2" name="Text Placeholder 4">
            <a:extLst>
              <a:ext uri="{FF2B5EF4-FFF2-40B4-BE49-F238E27FC236}">
                <a16:creationId xmlns:a16="http://schemas.microsoft.com/office/drawing/2014/main" id="{9074426F-5955-9658-D480-559C2ED11E30}"/>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405CCCB-E86E-1FA7-7E81-63B7F99FB606}"/>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88903399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PAGE IMAGE BOTTOM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317">
            <a:extLst>
              <a:ext uri="{FF2B5EF4-FFF2-40B4-BE49-F238E27FC236}">
                <a16:creationId xmlns:a16="http://schemas.microsoft.com/office/drawing/2014/main" id="{E0B8574E-2138-4BD8-A820-97327E9778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80971" y="3902654"/>
            <a:ext cx="3099286" cy="3099286"/>
          </a:xfrm>
          <a:prstGeom prst="ellipse">
            <a:avLst/>
          </a:prstGeom>
          <a:ln>
            <a:noFill/>
          </a:ln>
        </p:spPr>
      </p:pic>
      <p:sp>
        <p:nvSpPr>
          <p:cNvPr id="2" name="Text Placeholder 4">
            <a:extLst>
              <a:ext uri="{FF2B5EF4-FFF2-40B4-BE49-F238E27FC236}">
                <a16:creationId xmlns:a16="http://schemas.microsoft.com/office/drawing/2014/main" id="{21B01A5D-3C4C-DA11-5B02-1B7BD66D2933}"/>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A00D6A3-5708-CC4E-6662-2F88E6A77893}"/>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17092779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PAGE IMAGE BOTTOM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7F3B96B-D34C-4FD9-89B3-9BBB8D4630B0}"/>
              </a:ext>
            </a:extLst>
          </p:cNvPr>
          <p:cNvSpPr>
            <a:spLocks noChangeAspect="1"/>
          </p:cNvSpPr>
          <p:nvPr userDrawn="1"/>
        </p:nvSpPr>
        <p:spPr>
          <a:xfrm>
            <a:off x="-460054" y="362286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59643E94-29BB-42B7-B174-B2C4B6EBD4E0}"/>
              </a:ext>
            </a:extLst>
          </p:cNvPr>
          <p:cNvSpPr>
            <a:spLocks noChangeAspect="1"/>
          </p:cNvSpPr>
          <p:nvPr userDrawn="1"/>
        </p:nvSpPr>
        <p:spPr>
          <a:xfrm>
            <a:off x="-370559" y="371256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73" descr="A picture containing tree, grass, outdoor, mammal&#10;&#10;Description automatically generated">
            <a:extLst>
              <a:ext uri="{FF2B5EF4-FFF2-40B4-BE49-F238E27FC236}">
                <a16:creationId xmlns:a16="http://schemas.microsoft.com/office/drawing/2014/main" id="{29386B9E-0158-4D2E-B90D-4F7D021EE3F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77566" y="3878573"/>
            <a:ext cx="3099286" cy="3099286"/>
          </a:xfrm>
          <a:prstGeom prst="ellipse">
            <a:avLst/>
          </a:prstGeom>
          <a:ln>
            <a:noFill/>
          </a:ln>
        </p:spPr>
      </p:pic>
      <p:sp>
        <p:nvSpPr>
          <p:cNvPr id="2" name="Text Placeholder 4">
            <a:extLst>
              <a:ext uri="{FF2B5EF4-FFF2-40B4-BE49-F238E27FC236}">
                <a16:creationId xmlns:a16="http://schemas.microsoft.com/office/drawing/2014/main" id="{0956700F-9559-0327-1CE1-4336869F0B23}"/>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0FFEBD3-44FA-3AF2-14EA-2AC9626F855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85382888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PAGE IMAGE BOTTOM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68866A0-61A3-4DB4-B7EE-6043156C6372}"/>
              </a:ext>
            </a:extLst>
          </p:cNvPr>
          <p:cNvSpPr>
            <a:spLocks noChangeAspect="1"/>
          </p:cNvSpPr>
          <p:nvPr userDrawn="1"/>
        </p:nvSpPr>
        <p:spPr>
          <a:xfrm>
            <a:off x="-469274" y="3610935"/>
            <a:ext cx="3653741" cy="3618510"/>
          </a:xfrm>
          <a:prstGeom prst="donut">
            <a:avLst>
              <a:gd name="adj" fmla="val 1425"/>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02A50911-9C2E-494B-B54C-CE2867FB3204}"/>
              </a:ext>
            </a:extLst>
          </p:cNvPr>
          <p:cNvSpPr>
            <a:spLocks noChangeAspect="1"/>
          </p:cNvSpPr>
          <p:nvPr userDrawn="1"/>
        </p:nvSpPr>
        <p:spPr>
          <a:xfrm>
            <a:off x="-368689" y="3719104"/>
            <a:ext cx="3464711" cy="343130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78" descr="A body of water with trees and buildings in the background&#10;&#10;Description automatically generated">
            <a:extLst>
              <a:ext uri="{FF2B5EF4-FFF2-40B4-BE49-F238E27FC236}">
                <a16:creationId xmlns:a16="http://schemas.microsoft.com/office/drawing/2014/main" id="{022707BC-008E-4029-900F-DB8EBCC1B4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2047" y="3885112"/>
            <a:ext cx="3099286" cy="3099286"/>
          </a:xfrm>
          <a:prstGeom prst="ellipse">
            <a:avLst/>
          </a:prstGeom>
          <a:ln>
            <a:noFill/>
          </a:ln>
        </p:spPr>
      </p:pic>
      <p:sp>
        <p:nvSpPr>
          <p:cNvPr id="2" name="Text Placeholder 4">
            <a:extLst>
              <a:ext uri="{FF2B5EF4-FFF2-40B4-BE49-F238E27FC236}">
                <a16:creationId xmlns:a16="http://schemas.microsoft.com/office/drawing/2014/main" id="{C405EF3F-4F6D-83C4-2999-C886731591DE}"/>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47F00B0-71C1-23BE-7C36-B3050039836D}"/>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5005447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PAGE IMAGE BOTTOM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04EDDBFA-5AA6-4996-BA32-11DF93FD0E86}"/>
              </a:ext>
            </a:extLst>
          </p:cNvPr>
          <p:cNvSpPr>
            <a:spLocks noChangeAspect="1"/>
          </p:cNvSpPr>
          <p:nvPr userDrawn="1"/>
        </p:nvSpPr>
        <p:spPr>
          <a:xfrm>
            <a:off x="-470841" y="3607636"/>
            <a:ext cx="3679543" cy="3644064"/>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B4893A3D-A2D7-4B92-AD6B-A61E574C239F}"/>
              </a:ext>
            </a:extLst>
          </p:cNvPr>
          <p:cNvSpPr>
            <a:spLocks noChangeAspect="1"/>
          </p:cNvSpPr>
          <p:nvPr userDrawn="1"/>
        </p:nvSpPr>
        <p:spPr>
          <a:xfrm>
            <a:off x="-386505" y="3706403"/>
            <a:ext cx="3489178" cy="3455533"/>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2" name="Picture Placeholder 83" descr="A bridge over a river with a building in the background&#10;&#10;Description automatically generated with low confidence">
            <a:extLst>
              <a:ext uri="{FF2B5EF4-FFF2-40B4-BE49-F238E27FC236}">
                <a16:creationId xmlns:a16="http://schemas.microsoft.com/office/drawing/2014/main" id="{F1C526DE-E9AC-4549-AE40-6C080ADC9A0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99"/>
          <a:stretch/>
        </p:blipFill>
        <p:spPr>
          <a:xfrm>
            <a:off x="-189339" y="3897277"/>
            <a:ext cx="3099286" cy="3099286"/>
          </a:xfrm>
          <a:prstGeom prst="ellipse">
            <a:avLst/>
          </a:prstGeom>
          <a:ln>
            <a:noFill/>
          </a:ln>
        </p:spPr>
      </p:pic>
      <p:sp>
        <p:nvSpPr>
          <p:cNvPr id="2" name="Text Placeholder 4">
            <a:extLst>
              <a:ext uri="{FF2B5EF4-FFF2-40B4-BE49-F238E27FC236}">
                <a16:creationId xmlns:a16="http://schemas.microsoft.com/office/drawing/2014/main" id="{DE27A871-2DAA-A27C-6D89-71959D5BAA4C}"/>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1713FBC-9D3F-7DBA-5384-35A5E7764B9D}"/>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2835286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PAGE IMAGE BOTTOM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8803"/>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0" name="Picture 9" descr="Shape, circle&#10;&#10;Description automatically generated">
            <a:extLst>
              <a:ext uri="{FF2B5EF4-FFF2-40B4-BE49-F238E27FC236}">
                <a16:creationId xmlns:a16="http://schemas.microsoft.com/office/drawing/2014/main" id="{D5817B84-D42F-4817-88A3-91A405EA821C}"/>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68987" y="1560753"/>
            <a:ext cx="5505467" cy="4799638"/>
          </a:xfrm>
          <a:prstGeom prst="rect">
            <a:avLst/>
          </a:prstGeom>
          <a:effectLst/>
        </p:spPr>
      </p:pic>
      <p:sp>
        <p:nvSpPr>
          <p:cNvPr id="12" name="Rectangle: Rounded Corners 11">
            <a:extLst>
              <a:ext uri="{FF2B5EF4-FFF2-40B4-BE49-F238E27FC236}">
                <a16:creationId xmlns:a16="http://schemas.microsoft.com/office/drawing/2014/main" id="{B31547BC-07F2-4A6E-8892-F016BBC5308B}"/>
              </a:ext>
            </a:extLst>
          </p:cNvPr>
          <p:cNvSpPr/>
          <p:nvPr userDrawn="1"/>
        </p:nvSpPr>
        <p:spPr>
          <a:xfrm rot="10800000">
            <a:off x="2343782" y="1280586"/>
            <a:ext cx="9170746"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25266737-6DAB-4245-94A7-5AD68D9D92C4}"/>
              </a:ext>
            </a:extLst>
          </p:cNvPr>
          <p:cNvSpPr/>
          <p:nvPr userDrawn="1"/>
        </p:nvSpPr>
        <p:spPr>
          <a:xfrm rot="5400000">
            <a:off x="10655444" y="1798164"/>
            <a:ext cx="1494204" cy="725956"/>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E5312E38-2274-4171-9B49-BBF653B8FC34}"/>
              </a:ext>
            </a:extLst>
          </p:cNvPr>
          <p:cNvSpPr/>
          <p:nvPr userDrawn="1"/>
        </p:nvSpPr>
        <p:spPr>
          <a:xfrm rot="10800000">
            <a:off x="2343781" y="1286266"/>
            <a:ext cx="9064447"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Rounded Corners 16">
            <a:extLst>
              <a:ext uri="{FF2B5EF4-FFF2-40B4-BE49-F238E27FC236}">
                <a16:creationId xmlns:a16="http://schemas.microsoft.com/office/drawing/2014/main" id="{EB31A0FA-E59C-4787-BF11-5DCBBAE4620D}"/>
              </a:ext>
            </a:extLst>
          </p:cNvPr>
          <p:cNvSpPr/>
          <p:nvPr userDrawn="1"/>
        </p:nvSpPr>
        <p:spPr>
          <a:xfrm rot="5400000">
            <a:off x="10719525" y="3652916"/>
            <a:ext cx="1494204" cy="620197"/>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extLst>
              <a:ext uri="{FF2B5EF4-FFF2-40B4-BE49-F238E27FC236}">
                <a16:creationId xmlns:a16="http://schemas.microsoft.com/office/drawing/2014/main" id="{299C680E-1315-4B23-8274-972ED93DF838}"/>
              </a:ext>
            </a:extLst>
          </p:cNvPr>
          <p:cNvSpPr/>
          <p:nvPr userDrawn="1"/>
        </p:nvSpPr>
        <p:spPr>
          <a:xfrm rot="10800000">
            <a:off x="2343781" y="1273207"/>
            <a:ext cx="896616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265856E8-B40F-467F-A9A9-8E7A86871732}"/>
              </a:ext>
            </a:extLst>
          </p:cNvPr>
          <p:cNvSpPr/>
          <p:nvPr userDrawn="1"/>
        </p:nvSpPr>
        <p:spPr>
          <a:xfrm rot="5400000">
            <a:off x="10770225" y="5472606"/>
            <a:ext cx="1494204" cy="522522"/>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46773015-87F9-4F63-A42F-529A3B2610AB}"/>
              </a:ext>
            </a:extLst>
          </p:cNvPr>
          <p:cNvSpPr>
            <a:spLocks noChangeAspect="1"/>
          </p:cNvSpPr>
          <p:nvPr userDrawn="1"/>
        </p:nvSpPr>
        <p:spPr>
          <a:xfrm>
            <a:off x="-469834" y="3613201"/>
            <a:ext cx="3670234" cy="3634844"/>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Circle: Hollow 18">
            <a:extLst>
              <a:ext uri="{FF2B5EF4-FFF2-40B4-BE49-F238E27FC236}">
                <a16:creationId xmlns:a16="http://schemas.microsoft.com/office/drawing/2014/main" id="{98CA7951-F87D-46AC-B63B-781567473D72}"/>
              </a:ext>
            </a:extLst>
          </p:cNvPr>
          <p:cNvSpPr>
            <a:spLocks noChangeAspect="1"/>
          </p:cNvSpPr>
          <p:nvPr userDrawn="1"/>
        </p:nvSpPr>
        <p:spPr>
          <a:xfrm>
            <a:off x="-382986" y="3705513"/>
            <a:ext cx="3480351" cy="3446791"/>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Picture Placeholder 2">
            <a:extLst>
              <a:ext uri="{FF2B5EF4-FFF2-40B4-BE49-F238E27FC236}">
                <a16:creationId xmlns:a16="http://schemas.microsoft.com/office/drawing/2014/main" id="{8E38B319-A30A-4CC5-A1A0-54DBF80AC85B}"/>
              </a:ext>
            </a:extLst>
          </p:cNvPr>
          <p:cNvSpPr>
            <a:spLocks noGrp="1" noChangeAspect="1"/>
          </p:cNvSpPr>
          <p:nvPr>
            <p:ph type="pic" sz="quarter" idx="10"/>
          </p:nvPr>
        </p:nvSpPr>
        <p:spPr>
          <a:xfrm>
            <a:off x="-200536" y="3878440"/>
            <a:ext cx="3099286" cy="3099286"/>
          </a:xfrm>
          <a:prstGeom prst="ellipse">
            <a:avLst/>
          </a:prstGeom>
          <a:ln>
            <a:noFill/>
          </a:ln>
        </p:spPr>
        <p:txBody>
          <a:bodyPr/>
          <a:lstStyle/>
          <a:p>
            <a:endParaRPr lang="nl-NL"/>
          </a:p>
        </p:txBody>
      </p:sp>
      <p:sp>
        <p:nvSpPr>
          <p:cNvPr id="2" name="Text Placeholder 4">
            <a:extLst>
              <a:ext uri="{FF2B5EF4-FFF2-40B4-BE49-F238E27FC236}">
                <a16:creationId xmlns:a16="http://schemas.microsoft.com/office/drawing/2014/main" id="{A80287C8-7282-DB87-6C05-E56D612B1A1D}"/>
              </a:ext>
            </a:extLst>
          </p:cNvPr>
          <p:cNvSpPr>
            <a:spLocks noGrp="1"/>
          </p:cNvSpPr>
          <p:nvPr>
            <p:ph type="body" sz="quarter" idx="11"/>
          </p:nvPr>
        </p:nvSpPr>
        <p:spPr>
          <a:xfrm>
            <a:off x="3344181" y="1516076"/>
            <a:ext cx="7681858" cy="4865068"/>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34FCD97-F611-AA7A-5E05-2CE3DCB296C6}"/>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1863142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CTIVITY TRANSITION PAGEA AF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8" name="Picture Placeholder 16" descr="A group of people raising their hands&#10;&#10;Description automatically generated with medium confidence">
            <a:extLst>
              <a:ext uri="{FF2B5EF4-FFF2-40B4-BE49-F238E27FC236}">
                <a16:creationId xmlns:a16="http://schemas.microsoft.com/office/drawing/2014/main" id="{D58FC17E-4343-4A66-8DCF-A0AA2542816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36606" y="2323047"/>
            <a:ext cx="4854932" cy="4854932"/>
          </a:xfrm>
          <a:prstGeom prst="ellipse">
            <a:avLst/>
          </a:prstGeom>
        </p:spPr>
      </p:pic>
    </p:spTree>
    <p:extLst>
      <p:ext uri="{BB962C8B-B14F-4D97-AF65-F5344CB8AC3E}">
        <p14:creationId xmlns:p14="http://schemas.microsoft.com/office/powerpoint/2010/main" val="6859596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CTIVITY TRANSITION PAGE AF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8" name="Picture Placeholder 12" descr="A person wearing headphones and holding a glass of beer&#10;&#10;Description automatically generated with medium confidence">
            <a:extLst>
              <a:ext uri="{FF2B5EF4-FFF2-40B4-BE49-F238E27FC236}">
                <a16:creationId xmlns:a16="http://schemas.microsoft.com/office/drawing/2014/main" id="{54C6C8D7-A8D1-41D6-A073-0F1FCBA74F3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98"/>
          <a:stretch/>
        </p:blipFill>
        <p:spPr>
          <a:xfrm>
            <a:off x="-639058" y="2309880"/>
            <a:ext cx="4854932" cy="4854932"/>
          </a:xfrm>
          <a:prstGeom prst="ellipse">
            <a:avLst/>
          </a:prstGeom>
        </p:spPr>
      </p:pic>
      <p:sp>
        <p:nvSpPr>
          <p:cNvPr id="2" name="Slide Number Placeholder 1">
            <a:extLst>
              <a:ext uri="{FF2B5EF4-FFF2-40B4-BE49-F238E27FC236}">
                <a16:creationId xmlns:a16="http://schemas.microsoft.com/office/drawing/2014/main" id="{72F5B77B-A5D4-115E-F2FC-70A6BFB041A7}"/>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94504633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CTIVITY TRANSITION PAGE AF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30" name="Picture Placeholder 7">
            <a:extLst>
              <a:ext uri="{FF2B5EF4-FFF2-40B4-BE49-F238E27FC236}">
                <a16:creationId xmlns:a16="http://schemas.microsoft.com/office/drawing/2014/main" id="{0A6FF159-8155-4AC7-B0C8-4F8248DDED8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263"/>
          <a:stretch/>
        </p:blipFill>
        <p:spPr>
          <a:xfrm>
            <a:off x="-623860" y="2309880"/>
            <a:ext cx="4854932" cy="4854932"/>
          </a:xfrm>
          <a:prstGeom prst="ellipse">
            <a:avLst/>
          </a:prstGeom>
          <a:ln>
            <a:noFill/>
          </a:ln>
        </p:spPr>
      </p:pic>
      <p:sp>
        <p:nvSpPr>
          <p:cNvPr id="2" name="Slide Number Placeholder 1">
            <a:extLst>
              <a:ext uri="{FF2B5EF4-FFF2-40B4-BE49-F238E27FC236}">
                <a16:creationId xmlns:a16="http://schemas.microsoft.com/office/drawing/2014/main" id="{2EDA325C-92F0-6A9B-84B3-CEB485DB7706}"/>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61707920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CTIVITY TRANSITION PAGE AS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3" name="Picture Placeholder 127">
            <a:extLst>
              <a:ext uri="{FF2B5EF4-FFF2-40B4-BE49-F238E27FC236}">
                <a16:creationId xmlns:a16="http://schemas.microsoft.com/office/drawing/2014/main" id="{745B3249-9840-401F-8B6E-9957F3E68C8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394"/>
          <a:stretch/>
        </p:blipFill>
        <p:spPr>
          <a:xfrm>
            <a:off x="-644463" y="2322580"/>
            <a:ext cx="4854932" cy="4854932"/>
          </a:xfrm>
          <a:prstGeom prst="ellipse">
            <a:avLst/>
          </a:prstGeom>
          <a:ln>
            <a:noFill/>
          </a:ln>
        </p:spPr>
      </p:pic>
      <p:sp>
        <p:nvSpPr>
          <p:cNvPr id="2" name="Slide Number Placeholder 1">
            <a:extLst>
              <a:ext uri="{FF2B5EF4-FFF2-40B4-BE49-F238E27FC236}">
                <a16:creationId xmlns:a16="http://schemas.microsoft.com/office/drawing/2014/main" id="{3D8FAB24-6CEC-F205-959F-6BD75E886571}"/>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8061729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PLASHPAGE OTHER 3">
    <p:bg>
      <p:bgPr>
        <a:solidFill>
          <a:schemeClr val="bg1"/>
        </a:solidFill>
        <a:effectLst/>
      </p:bgPr>
    </p:bg>
    <p:spTree>
      <p:nvGrpSpPr>
        <p:cNvPr id="1" name=""/>
        <p:cNvGrpSpPr/>
        <p:nvPr/>
      </p:nvGrpSpPr>
      <p:grpSpPr>
        <a:xfrm>
          <a:off x="0" y="0"/>
          <a:ext cx="0" cy="0"/>
          <a:chOff x="0" y="0"/>
          <a:chExt cx="0" cy="0"/>
        </a:xfrm>
      </p:grpSpPr>
      <p:pic>
        <p:nvPicPr>
          <p:cNvPr id="15362" name="Picture 2">
            <a:extLst>
              <a:ext uri="{FF2B5EF4-FFF2-40B4-BE49-F238E27FC236}">
                <a16:creationId xmlns:a16="http://schemas.microsoft.com/office/drawing/2014/main" id="{AA636C35-A380-4E44-A95F-3CE588892429}"/>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827" y="0"/>
            <a:ext cx="697706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4651BD9E-62BA-477E-B88C-39A2153FF555}"/>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49826" b="99187" l="685" r="58904">
                        <a14:foregroundMark x1="15868" y1="49826" x2="16438" y2="51684"/>
                        <a14:foregroundMark x1="4680" y1="79559" x2="1027" y2="94774"/>
                        <a14:foregroundMark x1="8562" y1="96516" x2="31279" y2="99419"/>
                        <a14:foregroundMark x1="31279" y1="99419" x2="39612" y2="98490"/>
                        <a14:foregroundMark x1="45662" y1="98490" x2="47831" y2="98839"/>
                        <a14:foregroundMark x1="15639" y1="52846" x2="15639" y2="52846"/>
                        <a14:foregroundMark x1="18151" y1="50871" x2="18151" y2="50871"/>
                        <a14:foregroundMark x1="18151" y1="50871" x2="16553" y2="51916"/>
                        <a14:foregroundMark x1="55708" y1="54239" x2="55936" y2="61324"/>
                        <a14:foregroundMark x1="55936" y1="61324" x2="55936" y2="61324"/>
                        <a14:foregroundMark x1="57306" y1="57027" x2="58904" y2="61208"/>
                        <a14:backgroundMark x1="9247" y1="51336" x2="8904" y2="67131"/>
                        <a14:backgroundMark x1="26826" y1="53891" x2="42352" y2="66434"/>
                        <a14:backgroundMark x1="28653" y1="71429" x2="36644" y2="73055"/>
                        <a14:backgroundMark x1="28082" y1="71196" x2="28082" y2="71196"/>
                      </a14:backgroundRemoval>
                    </a14:imgEffect>
                  </a14:imgLayer>
                </a14:imgProps>
              </a:ext>
              <a:ext uri="{28A0092B-C50C-407E-A947-70E740481C1C}">
                <a14:useLocalDpi xmlns:a14="http://schemas.microsoft.com/office/drawing/2010/main" val="0"/>
              </a:ext>
            </a:extLst>
          </a:blip>
          <a:srcRect t="48125" r="49980" b="-1"/>
          <a:stretch/>
        </p:blipFill>
        <p:spPr bwMode="auto">
          <a:xfrm>
            <a:off x="-11668" y="3295973"/>
            <a:ext cx="3489895" cy="355757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9A0A3853-7AA8-B58E-3AF0-8FC99F17D3BC}"/>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AB5926DE-6D18-24F7-76A3-4B1ED049FBCE}"/>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BA2DE7B0-A997-A4AF-1469-A1DBD15EDDB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142BBA0B-4195-43EF-84F9-EDB5B51C53F2}"/>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C6345F75-5260-A610-FE9E-1E8C62DC2DF5}"/>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4042850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CTIVITY TRANSITION PAGE AS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37" descr="A picture containing person, sport, dancer, colorful&#10;&#10;Description automatically generated">
            <a:extLst>
              <a:ext uri="{FF2B5EF4-FFF2-40B4-BE49-F238E27FC236}">
                <a16:creationId xmlns:a16="http://schemas.microsoft.com/office/drawing/2014/main" id="{4A7875E8-45E8-4AB0-BAF3-2EA96ECA49E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6560" y="2316829"/>
            <a:ext cx="4854932" cy="4854932"/>
          </a:xfrm>
          <a:prstGeom prst="ellipse">
            <a:avLst/>
          </a:prstGeom>
          <a:ln>
            <a:noFill/>
          </a:ln>
        </p:spPr>
      </p:pic>
      <p:sp>
        <p:nvSpPr>
          <p:cNvPr id="2" name="Slide Number Placeholder 1">
            <a:extLst>
              <a:ext uri="{FF2B5EF4-FFF2-40B4-BE49-F238E27FC236}">
                <a16:creationId xmlns:a16="http://schemas.microsoft.com/office/drawing/2014/main" id="{2C52F181-4A25-B509-2A72-4D6B9603A60E}"/>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25153665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CTIVITY TRANSITION PAGE AS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22" descr="A picture containing person&#10;&#10;Description automatically generated">
            <a:extLst>
              <a:ext uri="{FF2B5EF4-FFF2-40B4-BE49-F238E27FC236}">
                <a16:creationId xmlns:a16="http://schemas.microsoft.com/office/drawing/2014/main" id="{3CC4E0A8-6E4A-4188-93BF-5BF5BB59F7F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2785" y="2309880"/>
            <a:ext cx="4854932" cy="4854932"/>
          </a:xfrm>
          <a:prstGeom prst="ellipse">
            <a:avLst/>
          </a:prstGeom>
          <a:ln>
            <a:noFill/>
          </a:ln>
        </p:spPr>
      </p:pic>
      <p:sp>
        <p:nvSpPr>
          <p:cNvPr id="2" name="Slide Number Placeholder 1">
            <a:extLst>
              <a:ext uri="{FF2B5EF4-FFF2-40B4-BE49-F238E27FC236}">
                <a16:creationId xmlns:a16="http://schemas.microsoft.com/office/drawing/2014/main" id="{F4F3E17C-17E5-B69F-8799-D3B43B43C6A5}"/>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93257997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CTIVITY TRANSITION PAGE AS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32" descr="A group of people running&#10;&#10;Description automatically generated">
            <a:extLst>
              <a:ext uri="{FF2B5EF4-FFF2-40B4-BE49-F238E27FC236}">
                <a16:creationId xmlns:a16="http://schemas.microsoft.com/office/drawing/2014/main" id="{E8F50E11-BDD9-4689-9DC0-7A17376FE2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9057" y="2309880"/>
            <a:ext cx="4854932" cy="4854932"/>
          </a:xfrm>
          <a:prstGeom prst="ellipse">
            <a:avLst/>
          </a:prstGeom>
          <a:ln>
            <a:noFill/>
          </a:ln>
        </p:spPr>
      </p:pic>
    </p:spTree>
    <p:extLst>
      <p:ext uri="{BB962C8B-B14F-4D97-AF65-F5344CB8AC3E}">
        <p14:creationId xmlns:p14="http://schemas.microsoft.com/office/powerpoint/2010/main" val="97739769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CTIVITY TRANSITION PAGE SA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8" name="Picture Placeholder 115" descr="A person with his arms crossed&#10;&#10;Description automatically generated with low confidence">
            <a:extLst>
              <a:ext uri="{FF2B5EF4-FFF2-40B4-BE49-F238E27FC236}">
                <a16:creationId xmlns:a16="http://schemas.microsoft.com/office/drawing/2014/main" id="{B270CD26-81BF-4B49-80D1-F7BA27BFA55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9737" y="2309880"/>
            <a:ext cx="4854932" cy="4854932"/>
          </a:xfrm>
          <a:prstGeom prst="ellipse">
            <a:avLst/>
          </a:prstGeom>
          <a:ln>
            <a:noFill/>
          </a:ln>
        </p:spPr>
      </p:pic>
      <p:sp>
        <p:nvSpPr>
          <p:cNvPr id="2" name="Slide Number Placeholder 1">
            <a:extLst>
              <a:ext uri="{FF2B5EF4-FFF2-40B4-BE49-F238E27FC236}">
                <a16:creationId xmlns:a16="http://schemas.microsoft.com/office/drawing/2014/main" id="{E6B91766-352F-3EF6-CAA1-BEFF3F0966EA}"/>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0401114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CTIVITY TRANSITION PAGE SA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05">
            <a:extLst>
              <a:ext uri="{FF2B5EF4-FFF2-40B4-BE49-F238E27FC236}">
                <a16:creationId xmlns:a16="http://schemas.microsoft.com/office/drawing/2014/main" id="{7E2B29AF-A8AF-4F10-8141-C9E9DCB50BB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32020" y="2322580"/>
            <a:ext cx="4854932" cy="4854932"/>
          </a:xfrm>
          <a:prstGeom prst="ellipse">
            <a:avLst/>
          </a:prstGeom>
          <a:ln>
            <a:noFill/>
          </a:ln>
        </p:spPr>
      </p:pic>
      <p:sp>
        <p:nvSpPr>
          <p:cNvPr id="2" name="Slide Number Placeholder 1">
            <a:extLst>
              <a:ext uri="{FF2B5EF4-FFF2-40B4-BE49-F238E27FC236}">
                <a16:creationId xmlns:a16="http://schemas.microsoft.com/office/drawing/2014/main" id="{2B2D744A-37E2-397A-2A05-D3D0D5507F3A}"/>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447160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CTIVITY TRANSITION PAGE SA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4" name="Picture Placeholder 120" descr="A group of men posing for a photo&#10;&#10;Description automatically generated with medium confidence">
            <a:extLst>
              <a:ext uri="{FF2B5EF4-FFF2-40B4-BE49-F238E27FC236}">
                <a16:creationId xmlns:a16="http://schemas.microsoft.com/office/drawing/2014/main" id="{446A5102-6050-4F3E-B172-F44565CECB9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8524" y="2323047"/>
            <a:ext cx="4854932" cy="4854932"/>
          </a:xfrm>
          <a:prstGeom prst="ellipse">
            <a:avLst/>
          </a:prstGeom>
          <a:ln>
            <a:noFill/>
          </a:ln>
        </p:spPr>
      </p:pic>
      <p:sp>
        <p:nvSpPr>
          <p:cNvPr id="2" name="Slide Number Placeholder 1">
            <a:extLst>
              <a:ext uri="{FF2B5EF4-FFF2-40B4-BE49-F238E27FC236}">
                <a16:creationId xmlns:a16="http://schemas.microsoft.com/office/drawing/2014/main" id="{F042A46C-8CE1-99E6-C3C5-13CDE096C1A8}"/>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6443909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CTIVITY TRANSITION PAGE SA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10">
            <a:extLst>
              <a:ext uri="{FF2B5EF4-FFF2-40B4-BE49-F238E27FC236}">
                <a16:creationId xmlns:a16="http://schemas.microsoft.com/office/drawing/2014/main" id="{55C3F078-CE24-4D1A-9486-E980260B9ED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1358" y="2322580"/>
            <a:ext cx="4854932" cy="4854932"/>
          </a:xfrm>
          <a:prstGeom prst="ellipse">
            <a:avLst/>
          </a:prstGeom>
          <a:ln>
            <a:noFill/>
          </a:ln>
        </p:spPr>
      </p:pic>
    </p:spTree>
    <p:extLst>
      <p:ext uri="{BB962C8B-B14F-4D97-AF65-F5344CB8AC3E}">
        <p14:creationId xmlns:p14="http://schemas.microsoft.com/office/powerpoint/2010/main" val="20174288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CTIVITY TRANSITION PAGE WE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3" name="Picture Placeholder 341">
            <a:extLst>
              <a:ext uri="{FF2B5EF4-FFF2-40B4-BE49-F238E27FC236}">
                <a16:creationId xmlns:a16="http://schemas.microsoft.com/office/drawing/2014/main" id="{9A8927FA-857E-4E98-A171-4CFB0A6283F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9737" y="2309880"/>
            <a:ext cx="4854932" cy="4854932"/>
          </a:xfrm>
          <a:prstGeom prst="ellipse">
            <a:avLst/>
          </a:prstGeom>
          <a:ln>
            <a:noFill/>
          </a:ln>
        </p:spPr>
      </p:pic>
      <p:sp>
        <p:nvSpPr>
          <p:cNvPr id="2" name="Slide Number Placeholder 1">
            <a:extLst>
              <a:ext uri="{FF2B5EF4-FFF2-40B4-BE49-F238E27FC236}">
                <a16:creationId xmlns:a16="http://schemas.microsoft.com/office/drawing/2014/main" id="{9EE12F72-9E74-1AB9-1215-EE4584FE45D0}"/>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17366714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CTIVITY TRANSITION PAGE WE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8" name="Picture Placeholder 355">
            <a:extLst>
              <a:ext uri="{FF2B5EF4-FFF2-40B4-BE49-F238E27FC236}">
                <a16:creationId xmlns:a16="http://schemas.microsoft.com/office/drawing/2014/main" id="{95E7CFCD-6A83-409B-9BB3-F865EA422606}"/>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40169" y="2316829"/>
            <a:ext cx="4854932" cy="4854932"/>
          </a:xfrm>
          <a:prstGeom prst="ellipse">
            <a:avLst/>
          </a:prstGeom>
          <a:ln>
            <a:noFill/>
          </a:ln>
        </p:spPr>
      </p:pic>
      <p:sp>
        <p:nvSpPr>
          <p:cNvPr id="2" name="Slide Number Placeholder 1">
            <a:extLst>
              <a:ext uri="{FF2B5EF4-FFF2-40B4-BE49-F238E27FC236}">
                <a16:creationId xmlns:a16="http://schemas.microsoft.com/office/drawing/2014/main" id="{9D53FFBE-054C-7586-7EB9-999626BB3D67}"/>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9261903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CTIVITY TRANSITION PAGE WE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4" name="Picture Placeholder 336">
            <a:extLst>
              <a:ext uri="{FF2B5EF4-FFF2-40B4-BE49-F238E27FC236}">
                <a16:creationId xmlns:a16="http://schemas.microsoft.com/office/drawing/2014/main" id="{36225AA7-1C9F-448C-AB15-08CAAF1D7A5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3053" y="2322580"/>
            <a:ext cx="4854932" cy="4854932"/>
          </a:xfrm>
          <a:prstGeom prst="ellipse">
            <a:avLst/>
          </a:prstGeom>
          <a:ln>
            <a:noFill/>
          </a:ln>
        </p:spPr>
      </p:pic>
      <p:sp>
        <p:nvSpPr>
          <p:cNvPr id="2" name="Slide Number Placeholder 1">
            <a:extLst>
              <a:ext uri="{FF2B5EF4-FFF2-40B4-BE49-F238E27FC236}">
                <a16:creationId xmlns:a16="http://schemas.microsoft.com/office/drawing/2014/main" id="{F3A95892-A82D-4759-5B19-C535183463B7}"/>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4786774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PAGE GRAPHIC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6" name="Picture 5" descr="Shape, circle&#10;&#10;Description automatically generated">
            <a:extLst>
              <a:ext uri="{FF2B5EF4-FFF2-40B4-BE49-F238E27FC236}">
                <a16:creationId xmlns:a16="http://schemas.microsoft.com/office/drawing/2014/main" id="{9B4A9C0C-8128-4278-8F17-3A28A9BE9B5A}"/>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rot="10800000">
            <a:off x="6545304" y="1820918"/>
            <a:ext cx="5505467" cy="4799638"/>
          </a:xfrm>
          <a:prstGeom prst="rect">
            <a:avLst/>
          </a:prstGeom>
        </p:spPr>
      </p:pic>
      <p:sp>
        <p:nvSpPr>
          <p:cNvPr id="2" name="Slide Number Placeholder 1">
            <a:extLst>
              <a:ext uri="{FF2B5EF4-FFF2-40B4-BE49-F238E27FC236}">
                <a16:creationId xmlns:a16="http://schemas.microsoft.com/office/drawing/2014/main" id="{82C14645-1D98-F50C-A56F-05CD41376F91}"/>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8987547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CTIVITY TRANSITION PAGE WE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1" name="Picture Placeholder 346" descr="A picture containing person, water sport, sport, swimming&#10;&#10;Description automatically generated">
            <a:extLst>
              <a:ext uri="{FF2B5EF4-FFF2-40B4-BE49-F238E27FC236}">
                <a16:creationId xmlns:a16="http://schemas.microsoft.com/office/drawing/2014/main" id="{6533F9B4-4AD2-4AC3-A26C-895C6964BAC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0169" y="2309880"/>
            <a:ext cx="4854932" cy="4854932"/>
          </a:xfrm>
          <a:prstGeom prst="ellipse">
            <a:avLst/>
          </a:prstGeom>
          <a:ln>
            <a:noFill/>
          </a:ln>
        </p:spPr>
      </p:pic>
      <p:sp>
        <p:nvSpPr>
          <p:cNvPr id="2" name="Slide Number Placeholder 1">
            <a:extLst>
              <a:ext uri="{FF2B5EF4-FFF2-40B4-BE49-F238E27FC236}">
                <a16:creationId xmlns:a16="http://schemas.microsoft.com/office/drawing/2014/main" id="{EB04B5B5-122E-FA60-7E4C-04D1896A831D}"/>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55088745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CTIVITY TRANSITION PAGE OTHER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BF3B4B">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BF3B4B">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rgbClr val="DB899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1814483">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BF3B4B"/>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pic>
        <p:nvPicPr>
          <p:cNvPr id="28" name="Picture Placeholder 95" descr="A picture containing dark&#10;&#10;Description automatically generated">
            <a:extLst>
              <a:ext uri="{FF2B5EF4-FFF2-40B4-BE49-F238E27FC236}">
                <a16:creationId xmlns:a16="http://schemas.microsoft.com/office/drawing/2014/main" id="{8A180B2A-BF2D-4FEB-9346-9B7C410B5A5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38374" y="2309880"/>
            <a:ext cx="4854932" cy="4854932"/>
          </a:xfrm>
          <a:prstGeom prst="ellipse">
            <a:avLst/>
          </a:prstGeom>
          <a:ln>
            <a:noFill/>
          </a:ln>
        </p:spPr>
      </p:pic>
    </p:spTree>
    <p:extLst>
      <p:ext uri="{BB962C8B-B14F-4D97-AF65-F5344CB8AC3E}">
        <p14:creationId xmlns:p14="http://schemas.microsoft.com/office/powerpoint/2010/main" val="11776357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CTIVITY TRANSITION PAGE OTHER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26" name="Oval 25">
            <a:extLst>
              <a:ext uri="{FF2B5EF4-FFF2-40B4-BE49-F238E27FC236}">
                <a16:creationId xmlns:a16="http://schemas.microsoft.com/office/drawing/2014/main" id="{051FEFDC-9DA7-4FC1-B7D9-8BB727FF2F80}"/>
              </a:ext>
            </a:extLst>
          </p:cNvPr>
          <p:cNvSpPr>
            <a:spLocks noChangeAspect="1"/>
          </p:cNvSpPr>
          <p:nvPr userDrawn="1"/>
        </p:nvSpPr>
        <p:spPr>
          <a:xfrm>
            <a:off x="9587451" y="-450143"/>
            <a:ext cx="3137950" cy="31076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42D19691-22AE-42B3-97A9-E16551576E41}"/>
              </a:ext>
            </a:extLst>
          </p:cNvPr>
          <p:cNvSpPr>
            <a:spLocks noChangeAspect="1"/>
          </p:cNvSpPr>
          <p:nvPr userDrawn="1"/>
        </p:nvSpPr>
        <p:spPr>
          <a:xfrm>
            <a:off x="9412977" y="-609346"/>
            <a:ext cx="3471870" cy="3438392"/>
          </a:xfrm>
          <a:prstGeom prst="donut">
            <a:avLst>
              <a:gd name="adj" fmla="val 1425"/>
            </a:avLst>
          </a:prstGeom>
          <a:solidFill>
            <a:srgbClr val="FFC00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5" name="Circle: Hollow 24">
            <a:extLst>
              <a:ext uri="{FF2B5EF4-FFF2-40B4-BE49-F238E27FC236}">
                <a16:creationId xmlns:a16="http://schemas.microsoft.com/office/drawing/2014/main" id="{195FED30-D717-436B-94EF-4EEC137BA630}"/>
              </a:ext>
            </a:extLst>
          </p:cNvPr>
          <p:cNvSpPr>
            <a:spLocks noChangeAspect="1"/>
          </p:cNvSpPr>
          <p:nvPr userDrawn="1"/>
        </p:nvSpPr>
        <p:spPr>
          <a:xfrm>
            <a:off x="9530300" y="-493399"/>
            <a:ext cx="3238369" cy="3207143"/>
          </a:xfrm>
          <a:prstGeom prst="donut">
            <a:avLst>
              <a:gd name="adj" fmla="val 2682"/>
            </a:avLst>
          </a:prstGeom>
          <a:solidFill>
            <a:srgbClr val="FFC00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4">
              <a:lumMod val="40000"/>
              <a:lumOff val="6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3" name="TextBox 22">
            <a:extLst>
              <a:ext uri="{FF2B5EF4-FFF2-40B4-BE49-F238E27FC236}">
                <a16:creationId xmlns:a16="http://schemas.microsoft.com/office/drawing/2014/main" id="{6167E74C-9453-4673-987C-9FBA427E175D}"/>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FFC000"/>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90" descr="A picture containing building, outdoor, blue, stone&#10;&#10;Description automatically generated">
            <a:extLst>
              <a:ext uri="{FF2B5EF4-FFF2-40B4-BE49-F238E27FC236}">
                <a16:creationId xmlns:a16="http://schemas.microsoft.com/office/drawing/2014/main" id="{20DD8E6A-F37D-4CEE-8B28-892B6221791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52888" y="2282358"/>
            <a:ext cx="4854932" cy="4854932"/>
          </a:xfrm>
          <a:prstGeom prst="ellipse">
            <a:avLst/>
          </a:prstGeom>
          <a:ln>
            <a:noFill/>
          </a:ln>
        </p:spPr>
      </p:pic>
      <p:sp>
        <p:nvSpPr>
          <p:cNvPr id="2" name="Slide Number Placeholder 1">
            <a:extLst>
              <a:ext uri="{FF2B5EF4-FFF2-40B4-BE49-F238E27FC236}">
                <a16:creationId xmlns:a16="http://schemas.microsoft.com/office/drawing/2014/main" id="{92DE2AD0-3E78-A6E3-83A7-3609226ADCED}"/>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8579151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ACTIVITY TRANSITION PAGE OTHER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844944" y="2119087"/>
            <a:ext cx="5287504" cy="5236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93EF8D6-A115-4047-8577-7028A10BA119}"/>
              </a:ext>
            </a:extLst>
          </p:cNvPr>
          <p:cNvSpPr>
            <a:spLocks noChangeAspect="1"/>
          </p:cNvSpPr>
          <p:nvPr userDrawn="1"/>
        </p:nvSpPr>
        <p:spPr>
          <a:xfrm>
            <a:off x="-1070210" y="1922002"/>
            <a:ext cx="5695879" cy="5640956"/>
          </a:xfrm>
          <a:prstGeom prst="donut">
            <a:avLst>
              <a:gd name="adj" fmla="val 1425"/>
            </a:avLst>
          </a:prstGeom>
          <a:solidFill>
            <a:schemeClr val="accent5">
              <a:lumMod val="60000"/>
              <a:lumOff val="4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0" name="Circle: Hollow 19">
            <a:extLst>
              <a:ext uri="{FF2B5EF4-FFF2-40B4-BE49-F238E27FC236}">
                <a16:creationId xmlns:a16="http://schemas.microsoft.com/office/drawing/2014/main" id="{D7BC15F0-306F-41FC-BCBD-E3FB566B1DEF}"/>
              </a:ext>
            </a:extLst>
          </p:cNvPr>
          <p:cNvSpPr>
            <a:spLocks noChangeAspect="1"/>
          </p:cNvSpPr>
          <p:nvPr userDrawn="1"/>
        </p:nvSpPr>
        <p:spPr>
          <a:xfrm>
            <a:off x="-920630" y="2065427"/>
            <a:ext cx="5401195" cy="5349114"/>
          </a:xfrm>
          <a:prstGeom prst="donut">
            <a:avLst>
              <a:gd name="adj" fmla="val 268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Oval 22">
            <a:extLst>
              <a:ext uri="{FF2B5EF4-FFF2-40B4-BE49-F238E27FC236}">
                <a16:creationId xmlns:a16="http://schemas.microsoft.com/office/drawing/2014/main" id="{A61C5B74-B955-4C64-8F6D-B642E084AD96}"/>
              </a:ext>
            </a:extLst>
          </p:cNvPr>
          <p:cNvSpPr>
            <a:spLocks noChangeAspect="1"/>
          </p:cNvSpPr>
          <p:nvPr userDrawn="1"/>
        </p:nvSpPr>
        <p:spPr>
          <a:xfrm>
            <a:off x="9556845" y="-461649"/>
            <a:ext cx="3181255" cy="31505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Circle: Hollow 27">
            <a:extLst>
              <a:ext uri="{FF2B5EF4-FFF2-40B4-BE49-F238E27FC236}">
                <a16:creationId xmlns:a16="http://schemas.microsoft.com/office/drawing/2014/main" id="{F0D09751-6084-4CDF-B09D-691E9DBFC24C}"/>
              </a:ext>
            </a:extLst>
          </p:cNvPr>
          <p:cNvSpPr>
            <a:spLocks noChangeAspect="1"/>
          </p:cNvSpPr>
          <p:nvPr userDrawn="1"/>
        </p:nvSpPr>
        <p:spPr>
          <a:xfrm>
            <a:off x="9412977" y="-609346"/>
            <a:ext cx="3471870" cy="3438392"/>
          </a:xfrm>
          <a:prstGeom prst="donut">
            <a:avLst>
              <a:gd name="adj" fmla="val 1425"/>
            </a:avLst>
          </a:prstGeom>
          <a:solidFill>
            <a:srgbClr val="00AEEF">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29" name="Circle: Hollow 28">
            <a:extLst>
              <a:ext uri="{FF2B5EF4-FFF2-40B4-BE49-F238E27FC236}">
                <a16:creationId xmlns:a16="http://schemas.microsoft.com/office/drawing/2014/main" id="{4831C287-6B5C-47D3-9CBB-0FF9C28403DD}"/>
              </a:ext>
            </a:extLst>
          </p:cNvPr>
          <p:cNvSpPr>
            <a:spLocks noChangeAspect="1"/>
          </p:cNvSpPr>
          <p:nvPr userDrawn="1"/>
        </p:nvSpPr>
        <p:spPr>
          <a:xfrm>
            <a:off x="9530300" y="-493399"/>
            <a:ext cx="3238369" cy="3207143"/>
          </a:xfrm>
          <a:prstGeom prst="donut">
            <a:avLst>
              <a:gd name="adj" fmla="val 2682"/>
            </a:avLst>
          </a:prstGeom>
          <a:solidFill>
            <a:srgbClr val="00AEEF">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22" name="TextBox 21">
            <a:extLst>
              <a:ext uri="{FF2B5EF4-FFF2-40B4-BE49-F238E27FC236}">
                <a16:creationId xmlns:a16="http://schemas.microsoft.com/office/drawing/2014/main" id="{93FB3905-AD27-4D1E-996D-309C9BD251C4}"/>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rgbClr val="00AEEF"/>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pic>
        <p:nvPicPr>
          <p:cNvPr id="21" name="Picture Placeholder 100">
            <a:extLst>
              <a:ext uri="{FF2B5EF4-FFF2-40B4-BE49-F238E27FC236}">
                <a16:creationId xmlns:a16="http://schemas.microsoft.com/office/drawing/2014/main" id="{A9F941BB-AD7F-4F8D-8489-E645C72B01D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674706" y="2323047"/>
            <a:ext cx="4854932" cy="4854932"/>
          </a:xfrm>
          <a:prstGeom prst="ellipse">
            <a:avLst/>
          </a:prstGeom>
        </p:spPr>
      </p:pic>
      <p:sp>
        <p:nvSpPr>
          <p:cNvPr id="2" name="Slide Number Placeholder 1">
            <a:extLst>
              <a:ext uri="{FF2B5EF4-FFF2-40B4-BE49-F238E27FC236}">
                <a16:creationId xmlns:a16="http://schemas.microsoft.com/office/drawing/2014/main" id="{CE853324-BE5E-AA2A-5A67-4A5A11C672D6}"/>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56878135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ACTIVITY TRANSITION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hidden="1">
            <a:extLst>
              <a:ext uri="{FF2B5EF4-FFF2-40B4-BE49-F238E27FC236}">
                <a16:creationId xmlns:a16="http://schemas.microsoft.com/office/drawing/2014/main" id="{DB78C22D-0D4E-4548-AAEC-B5A3BDE44664}"/>
              </a:ext>
            </a:extLst>
          </p:cNvPr>
          <p:cNvPicPr>
            <a:picLocks noChangeAspect="1"/>
          </p:cNvPicPr>
          <p:nvPr userDrawn="1"/>
        </p:nvPicPr>
        <p:blipFill rotWithShape="1">
          <a:blip r:embed="rId2" cstate="screen">
            <a:duotone>
              <a:schemeClr val="bg2">
                <a:shade val="45000"/>
                <a:satMod val="135000"/>
              </a:schemeClr>
              <a:prstClr val="white"/>
            </a:duotone>
            <a:alphaModFix amt="50000"/>
            <a:extLst>
              <a:ext uri="{BEBA8EAE-BF5A-486C-A8C5-ECC9F3942E4B}">
                <a14:imgProps xmlns:a14="http://schemas.microsoft.com/office/drawing/2010/main">
                  <a14:imgLayer r:embed="rId3">
                    <a14:imgEffect>
                      <a14:artisticBlur radius="7"/>
                    </a14:imgEffect>
                  </a14:imgLayer>
                </a14:imgProps>
              </a:ext>
              <a:ext uri="{28A0092B-C50C-407E-A947-70E740481C1C}">
                <a14:useLocalDpi xmlns:a14="http://schemas.microsoft.com/office/drawing/2010/main"/>
              </a:ext>
            </a:extLst>
          </a:blip>
          <a:srcRect b="1746"/>
          <a:stretch/>
        </p:blipFill>
        <p:spPr>
          <a:xfrm>
            <a:off x="0" y="-10160"/>
            <a:ext cx="12209319" cy="6868160"/>
          </a:xfrm>
          <a:prstGeom prst="rect">
            <a:avLst/>
          </a:prstGeom>
          <a:noFill/>
        </p:spPr>
      </p:pic>
      <p:pic>
        <p:nvPicPr>
          <p:cNvPr id="15" name="Picture 14" descr="Shape, circle&#10;&#10;Description automatically generated">
            <a:extLst>
              <a:ext uri="{FF2B5EF4-FFF2-40B4-BE49-F238E27FC236}">
                <a16:creationId xmlns:a16="http://schemas.microsoft.com/office/drawing/2014/main" id="{0E8ABA0F-D3BB-49B7-B3CD-E87E12E9F402}"/>
              </a:ext>
            </a:extLst>
          </p:cNvPr>
          <p:cNvPicPr>
            <a:picLocks noChangeAspect="1"/>
          </p:cNvPicPr>
          <p:nvPr userDrawn="1"/>
        </p:nvPicPr>
        <p:blipFill>
          <a:blip r:embed="rId4" cstate="screen">
            <a:alphaModFix amt="70000"/>
            <a:extLst>
              <a:ext uri="{28A0092B-C50C-407E-A947-70E740481C1C}">
                <a14:useLocalDpi xmlns:a14="http://schemas.microsoft.com/office/drawing/2010/main"/>
              </a:ext>
            </a:extLst>
          </a:blip>
          <a:stretch>
            <a:fillRect/>
          </a:stretch>
        </p:blipFill>
        <p:spPr>
          <a:xfrm rot="10800000" flipV="1">
            <a:off x="1069513" y="347491"/>
            <a:ext cx="7056750" cy="6250428"/>
          </a:xfrm>
          <a:prstGeom prst="rect">
            <a:avLst/>
          </a:prstGeom>
        </p:spPr>
      </p:pic>
      <p:sp>
        <p:nvSpPr>
          <p:cNvPr id="16" name="Title Placeholder 1">
            <a:extLst>
              <a:ext uri="{FF2B5EF4-FFF2-40B4-BE49-F238E27FC236}">
                <a16:creationId xmlns:a16="http://schemas.microsoft.com/office/drawing/2014/main" id="{C1D2AD36-65F1-4F18-A422-601C53B20FD1}"/>
              </a:ext>
            </a:extLst>
          </p:cNvPr>
          <p:cNvSpPr>
            <a:spLocks noGrp="1"/>
          </p:cNvSpPr>
          <p:nvPr>
            <p:ph type="title" hasCustomPrompt="1"/>
          </p:nvPr>
        </p:nvSpPr>
        <p:spPr>
          <a:xfrm>
            <a:off x="7047450" y="5361832"/>
            <a:ext cx="4965699" cy="625775"/>
          </a:xfrm>
          <a:prstGeom prst="rect">
            <a:avLst/>
          </a:prstGeom>
        </p:spPr>
        <p:txBody>
          <a:bodyPr vert="horz" lIns="91440" tIns="45720" rIns="91440" bIns="45720" rtlCol="0" anchor="ctr">
            <a:noAutofit/>
          </a:bodyPr>
          <a:lstStyle>
            <a:lvl1pPr algn="ctr">
              <a:defRPr sz="32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nl-NL"/>
              <a:t>Click to add activity name</a:t>
            </a:r>
          </a:p>
        </p:txBody>
      </p:sp>
      <p:sp>
        <p:nvSpPr>
          <p:cNvPr id="17" name="Oval 16">
            <a:extLst>
              <a:ext uri="{FF2B5EF4-FFF2-40B4-BE49-F238E27FC236}">
                <a16:creationId xmlns:a16="http://schemas.microsoft.com/office/drawing/2014/main" id="{13A87970-CEE8-456E-B325-EBFE9EF164AF}"/>
              </a:ext>
            </a:extLst>
          </p:cNvPr>
          <p:cNvSpPr>
            <a:spLocks noChangeAspect="1"/>
          </p:cNvSpPr>
          <p:nvPr userDrawn="1"/>
        </p:nvSpPr>
        <p:spPr>
          <a:xfrm>
            <a:off x="-958717" y="2098999"/>
            <a:ext cx="5397554" cy="53455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Circle: Hollow 33">
            <a:extLst>
              <a:ext uri="{FF2B5EF4-FFF2-40B4-BE49-F238E27FC236}">
                <a16:creationId xmlns:a16="http://schemas.microsoft.com/office/drawing/2014/main" id="{43395294-4557-46A9-9919-F13E15CDE4E9}"/>
              </a:ext>
            </a:extLst>
          </p:cNvPr>
          <p:cNvSpPr>
            <a:spLocks noChangeAspect="1"/>
          </p:cNvSpPr>
          <p:nvPr userDrawn="1"/>
        </p:nvSpPr>
        <p:spPr>
          <a:xfrm>
            <a:off x="-1070210" y="1922002"/>
            <a:ext cx="5695879" cy="5640956"/>
          </a:xfrm>
          <a:prstGeom prst="donut">
            <a:avLst>
              <a:gd name="adj" fmla="val 1425"/>
            </a:avLst>
          </a:prstGeom>
          <a:solidFill>
            <a:schemeClr val="tx1">
              <a:lumMod val="50000"/>
              <a:lumOff val="50000"/>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35" name="Circle: Hollow 34">
            <a:extLst>
              <a:ext uri="{FF2B5EF4-FFF2-40B4-BE49-F238E27FC236}">
                <a16:creationId xmlns:a16="http://schemas.microsoft.com/office/drawing/2014/main" id="{4CC85DBD-7E11-4644-8662-540317DD574A}"/>
              </a:ext>
            </a:extLst>
          </p:cNvPr>
          <p:cNvSpPr>
            <a:spLocks noChangeAspect="1"/>
          </p:cNvSpPr>
          <p:nvPr userDrawn="1"/>
        </p:nvSpPr>
        <p:spPr>
          <a:xfrm>
            <a:off x="-949658" y="2094455"/>
            <a:ext cx="5401195" cy="5349114"/>
          </a:xfrm>
          <a:prstGeom prst="donut">
            <a:avLst>
              <a:gd name="adj" fmla="val 2682"/>
            </a:avLst>
          </a:prstGeom>
          <a:solidFill>
            <a:schemeClr val="tx1">
              <a:lumMod val="50000"/>
              <a:lumOff val="5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TextBox 26">
            <a:extLst>
              <a:ext uri="{FF2B5EF4-FFF2-40B4-BE49-F238E27FC236}">
                <a16:creationId xmlns:a16="http://schemas.microsoft.com/office/drawing/2014/main" id="{F87CA176-3BCE-4B88-AE48-244CC10CC53C}"/>
              </a:ext>
            </a:extLst>
          </p:cNvPr>
          <p:cNvSpPr txBox="1"/>
          <p:nvPr userDrawn="1"/>
        </p:nvSpPr>
        <p:spPr>
          <a:xfrm>
            <a:off x="8029171" y="4443486"/>
            <a:ext cx="3116559" cy="923330"/>
          </a:xfrm>
          <a:prstGeom prst="rect">
            <a:avLst/>
          </a:prstGeom>
          <a:noFill/>
        </p:spPr>
        <p:txBody>
          <a:bodyPr wrap="none" rtlCol="0">
            <a:spAutoFit/>
          </a:bodyPr>
          <a:lstStyle/>
          <a:p>
            <a:r>
              <a:rPr lang="nl-NL" sz="54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ACTIVITY</a:t>
            </a:r>
          </a:p>
        </p:txBody>
      </p:sp>
      <p:sp>
        <p:nvSpPr>
          <p:cNvPr id="30" name="Oval 29">
            <a:extLst>
              <a:ext uri="{FF2B5EF4-FFF2-40B4-BE49-F238E27FC236}">
                <a16:creationId xmlns:a16="http://schemas.microsoft.com/office/drawing/2014/main" id="{2140EA6C-A7FA-4766-B89B-40730972C3CB}"/>
              </a:ext>
            </a:extLst>
          </p:cNvPr>
          <p:cNvSpPr>
            <a:spLocks noChangeAspect="1"/>
          </p:cNvSpPr>
          <p:nvPr userDrawn="1"/>
        </p:nvSpPr>
        <p:spPr>
          <a:xfrm>
            <a:off x="9524786" y="-493399"/>
            <a:ext cx="3243883" cy="32126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Circle: Hollow 30">
            <a:extLst>
              <a:ext uri="{FF2B5EF4-FFF2-40B4-BE49-F238E27FC236}">
                <a16:creationId xmlns:a16="http://schemas.microsoft.com/office/drawing/2014/main" id="{D6BBE2D3-617E-4598-874E-DAAFE6A89CC5}"/>
              </a:ext>
            </a:extLst>
          </p:cNvPr>
          <p:cNvSpPr>
            <a:spLocks noChangeAspect="1"/>
          </p:cNvSpPr>
          <p:nvPr userDrawn="1"/>
        </p:nvSpPr>
        <p:spPr>
          <a:xfrm>
            <a:off x="9412977" y="-609346"/>
            <a:ext cx="3471870" cy="3438392"/>
          </a:xfrm>
          <a:prstGeom prst="donut">
            <a:avLst>
              <a:gd name="adj" fmla="val 1425"/>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32" name="Circle: Hollow 31">
            <a:extLst>
              <a:ext uri="{FF2B5EF4-FFF2-40B4-BE49-F238E27FC236}">
                <a16:creationId xmlns:a16="http://schemas.microsoft.com/office/drawing/2014/main" id="{4F18B7CA-1521-4797-901A-711FD6AE2821}"/>
              </a:ext>
            </a:extLst>
          </p:cNvPr>
          <p:cNvSpPr>
            <a:spLocks noChangeAspect="1"/>
          </p:cNvSpPr>
          <p:nvPr userDrawn="1"/>
        </p:nvSpPr>
        <p:spPr>
          <a:xfrm>
            <a:off x="9530300" y="-493399"/>
            <a:ext cx="3238369" cy="3207143"/>
          </a:xfrm>
          <a:prstGeom prst="donut">
            <a:avLst>
              <a:gd name="adj" fmla="val 2682"/>
            </a:avLst>
          </a:prstGeom>
          <a:solidFill>
            <a:schemeClr val="tx1">
              <a:lumMod val="50000"/>
              <a:lumOff val="5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1" name="Picture Placeholder 2">
            <a:extLst>
              <a:ext uri="{FF2B5EF4-FFF2-40B4-BE49-F238E27FC236}">
                <a16:creationId xmlns:a16="http://schemas.microsoft.com/office/drawing/2014/main" id="{8C66B2F9-7F2F-4B0F-BCB5-0D476F9C4036}"/>
              </a:ext>
            </a:extLst>
          </p:cNvPr>
          <p:cNvSpPr>
            <a:spLocks noGrp="1" noChangeAspect="1"/>
          </p:cNvSpPr>
          <p:nvPr>
            <p:ph type="pic" sz="quarter" idx="13"/>
          </p:nvPr>
        </p:nvSpPr>
        <p:spPr>
          <a:xfrm>
            <a:off x="-674706" y="2323047"/>
            <a:ext cx="4854932" cy="4854932"/>
          </a:xfrm>
          <a:prstGeom prst="ellipse">
            <a:avLst/>
          </a:prstGeom>
          <a:ln>
            <a:noFill/>
          </a:ln>
        </p:spPr>
        <p:txBody>
          <a:bodyPr/>
          <a:lstStyle/>
          <a:p>
            <a:endParaRPr lang="nl-NL"/>
          </a:p>
        </p:txBody>
      </p:sp>
      <p:sp>
        <p:nvSpPr>
          <p:cNvPr id="36" name="TextBox 35">
            <a:extLst>
              <a:ext uri="{FF2B5EF4-FFF2-40B4-BE49-F238E27FC236}">
                <a16:creationId xmlns:a16="http://schemas.microsoft.com/office/drawing/2014/main" id="{108636AC-E3F3-4206-B3DF-B6B91A39477B}"/>
              </a:ext>
            </a:extLst>
          </p:cNvPr>
          <p:cNvSpPr txBox="1"/>
          <p:nvPr userDrawn="1"/>
        </p:nvSpPr>
        <p:spPr>
          <a:xfrm rot="2082712">
            <a:off x="9761515" y="-798043"/>
            <a:ext cx="3673432" cy="5216813"/>
          </a:xfrm>
          <a:prstGeom prst="rect">
            <a:avLst/>
          </a:prstGeom>
          <a:noFill/>
          <a:scene3d>
            <a:camera prst="isometricOffAxis1Right">
              <a:rot lat="164394" lon="19459956" rev="715190"/>
            </a:camera>
            <a:lightRig rig="threePt" dir="t"/>
          </a:scene3d>
          <a:sp3d prstMaterial="matte">
            <a:bevelT w="38100"/>
          </a:sp3d>
        </p:spPr>
        <p:txBody>
          <a:bodyPr wrap="square" rtlCol="0">
            <a:spAutoFit/>
            <a:sp3d extrusionH="57150">
              <a:bevelT w="0" h="241300"/>
            </a:sp3d>
          </a:bodyPr>
          <a:lstStyle/>
          <a:p>
            <a:r>
              <a:rPr lang="nl-NL" sz="33300" b="1">
                <a:solidFill>
                  <a:schemeClr val="tx1">
                    <a:lumMod val="50000"/>
                    <a:lumOff val="50000"/>
                  </a:schemeClr>
                </a:solidFill>
                <a:effectLst>
                  <a:outerShdw blurRad="50800" dist="38100" dir="8100000" algn="tr" rotWithShape="0">
                    <a:prstClr val="black">
                      <a:alpha val="40000"/>
                    </a:prstClr>
                  </a:outerShdw>
                </a:effectLst>
                <a:latin typeface="Delivery" panose="020F0503020204020204" pitchFamily="34" charset="0"/>
                <a:ea typeface="Delivery" panose="020F0503020204020204" pitchFamily="34" charset="0"/>
                <a:cs typeface="Delivery" panose="020F0503020204020204" pitchFamily="34" charset="0"/>
              </a:rPr>
              <a:t>!</a:t>
            </a:r>
          </a:p>
        </p:txBody>
      </p:sp>
      <p:sp>
        <p:nvSpPr>
          <p:cNvPr id="2" name="Slide Number Placeholder 1">
            <a:extLst>
              <a:ext uri="{FF2B5EF4-FFF2-40B4-BE49-F238E27FC236}">
                <a16:creationId xmlns:a16="http://schemas.microsoft.com/office/drawing/2014/main" id="{FC51F391-4338-9AF7-E7F6-0A452A3B8E14}"/>
              </a:ext>
            </a:extLst>
          </p:cNvPr>
          <p:cNvSpPr>
            <a:spLocks noGrp="1"/>
          </p:cNvSpPr>
          <p:nvPr>
            <p:ph type="sldNum" sz="quarter" idx="14"/>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52651386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ACTIVITY DESCRIPTION P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flipV="1">
            <a:off x="2805" y="1100725"/>
            <a:ext cx="5813766" cy="5767436"/>
          </a:xfrm>
          <a:prstGeom prst="rect">
            <a:avLst/>
          </a:prstGeom>
        </p:spPr>
      </p:pic>
      <p:sp>
        <p:nvSpPr>
          <p:cNvPr id="3" name="Rectangle: Rounded Corners 2">
            <a:extLst>
              <a:ext uri="{FF2B5EF4-FFF2-40B4-BE49-F238E27FC236}">
                <a16:creationId xmlns:a16="http://schemas.microsoft.com/office/drawing/2014/main" id="{8CCBF2A2-4A94-4167-B811-76A9071CFD5E}"/>
              </a:ext>
            </a:extLst>
          </p:cNvPr>
          <p:cNvSpPr/>
          <p:nvPr userDrawn="1"/>
        </p:nvSpPr>
        <p:spPr>
          <a:xfrm>
            <a:off x="1227710" y="1601040"/>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DD2800E9-B245-4BF2-A06F-459F6B4DF8EC}"/>
              </a:ext>
            </a:extLst>
          </p:cNvPr>
          <p:cNvSpPr/>
          <p:nvPr userDrawn="1"/>
        </p:nvSpPr>
        <p:spPr>
          <a:xfrm>
            <a:off x="1227709" y="2814061"/>
            <a:ext cx="8419747" cy="1850988"/>
          </a:xfrm>
          <a:prstGeom prst="roundRect">
            <a:avLst>
              <a:gd name="adj" fmla="val 10491"/>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BEDB912A-94C7-48E7-9C7D-6933F5A16D89}"/>
              </a:ext>
            </a:extLst>
          </p:cNvPr>
          <p:cNvSpPr/>
          <p:nvPr userDrawn="1"/>
        </p:nvSpPr>
        <p:spPr>
          <a:xfrm>
            <a:off x="1227709" y="505399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ext Placeholder 17">
            <a:extLst>
              <a:ext uri="{FF2B5EF4-FFF2-40B4-BE49-F238E27FC236}">
                <a16:creationId xmlns:a16="http://schemas.microsoft.com/office/drawing/2014/main" id="{87DC52E1-61B4-41C6-9C1B-78B53F41A182}"/>
              </a:ext>
            </a:extLst>
          </p:cNvPr>
          <p:cNvSpPr>
            <a:spLocks noGrp="1"/>
          </p:cNvSpPr>
          <p:nvPr>
            <p:ph type="body" sz="quarter" idx="10" hasCustomPrompt="1"/>
          </p:nvPr>
        </p:nvSpPr>
        <p:spPr>
          <a:xfrm>
            <a:off x="1886455" y="1750950"/>
            <a:ext cx="6540302"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grouping</a:t>
            </a:r>
          </a:p>
        </p:txBody>
      </p:sp>
      <p:sp>
        <p:nvSpPr>
          <p:cNvPr id="22" name="Text Placeholder 17">
            <a:extLst>
              <a:ext uri="{FF2B5EF4-FFF2-40B4-BE49-F238E27FC236}">
                <a16:creationId xmlns:a16="http://schemas.microsoft.com/office/drawing/2014/main" id="{5D33661A-E879-4955-BAB9-AA7B3C955E42}"/>
              </a:ext>
            </a:extLst>
          </p:cNvPr>
          <p:cNvSpPr>
            <a:spLocks noGrp="1"/>
          </p:cNvSpPr>
          <p:nvPr>
            <p:ph type="body" sz="quarter" idx="11" hasCustomPrompt="1"/>
          </p:nvPr>
        </p:nvSpPr>
        <p:spPr>
          <a:xfrm>
            <a:off x="1879600" y="5203901"/>
            <a:ext cx="7334511"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timing</a:t>
            </a:r>
          </a:p>
        </p:txBody>
      </p:sp>
      <p:sp>
        <p:nvSpPr>
          <p:cNvPr id="23" name="Text Placeholder 17">
            <a:extLst>
              <a:ext uri="{FF2B5EF4-FFF2-40B4-BE49-F238E27FC236}">
                <a16:creationId xmlns:a16="http://schemas.microsoft.com/office/drawing/2014/main" id="{694DBE2C-2418-448B-A0C4-52EECB64EBA6}"/>
              </a:ext>
            </a:extLst>
          </p:cNvPr>
          <p:cNvSpPr>
            <a:spLocks noGrp="1"/>
          </p:cNvSpPr>
          <p:nvPr>
            <p:ph type="body" sz="quarter" idx="12" hasCustomPrompt="1"/>
          </p:nvPr>
        </p:nvSpPr>
        <p:spPr>
          <a:xfrm>
            <a:off x="1879600" y="2963177"/>
            <a:ext cx="7334511" cy="1547004"/>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description</a:t>
            </a:r>
          </a:p>
        </p:txBody>
      </p:sp>
      <p:pic>
        <p:nvPicPr>
          <p:cNvPr id="24" name="Picture 23">
            <a:extLst>
              <a:ext uri="{FF2B5EF4-FFF2-40B4-BE49-F238E27FC236}">
                <a16:creationId xmlns:a16="http://schemas.microsoft.com/office/drawing/2014/main" id="{E4CF5DA5-4716-4782-9501-A8F5107FB95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307949" y="1717481"/>
            <a:ext cx="498268" cy="573587"/>
          </a:xfrm>
          <a:prstGeom prst="rect">
            <a:avLst/>
          </a:prstGeom>
        </p:spPr>
      </p:pic>
      <p:pic>
        <p:nvPicPr>
          <p:cNvPr id="25" name="Picture 24">
            <a:extLst>
              <a:ext uri="{FF2B5EF4-FFF2-40B4-BE49-F238E27FC236}">
                <a16:creationId xmlns:a16="http://schemas.microsoft.com/office/drawing/2014/main" id="{53847704-7CBE-4510-BC64-B020E26571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238405" y="3391793"/>
            <a:ext cx="668829" cy="620625"/>
          </a:xfrm>
          <a:prstGeom prst="rect">
            <a:avLst/>
          </a:prstGeom>
        </p:spPr>
      </p:pic>
      <p:pic>
        <p:nvPicPr>
          <p:cNvPr id="1026" name="Picture 2">
            <a:extLst>
              <a:ext uri="{FF2B5EF4-FFF2-40B4-BE49-F238E27FC236}">
                <a16:creationId xmlns:a16="http://schemas.microsoft.com/office/drawing/2014/main" id="{4257E957-3DBE-477B-97FB-9F76589E1283}"/>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257513" y="5176199"/>
            <a:ext cx="581561" cy="573455"/>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E5C9CD84-B7FC-41A4-A340-898AE0C16ED6}"/>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Circle: Hollow 6">
            <a:extLst>
              <a:ext uri="{FF2B5EF4-FFF2-40B4-BE49-F238E27FC236}">
                <a16:creationId xmlns:a16="http://schemas.microsoft.com/office/drawing/2014/main" id="{2E82F2B6-D24A-416E-A187-4E49DE485402}"/>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9" name="Circle: Hollow 8">
            <a:extLst>
              <a:ext uri="{FF2B5EF4-FFF2-40B4-BE49-F238E27FC236}">
                <a16:creationId xmlns:a16="http://schemas.microsoft.com/office/drawing/2014/main" id="{C4CCA36C-426E-4A63-9A07-DEB4BFCB3FAF}"/>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028" name="Picture 4">
            <a:extLst>
              <a:ext uri="{FF2B5EF4-FFF2-40B4-BE49-F238E27FC236}">
                <a16:creationId xmlns:a16="http://schemas.microsoft.com/office/drawing/2014/main" id="{4FB6D550-E9CE-4FA3-8A58-428B76CA8F5D}"/>
              </a:ext>
            </a:extLst>
          </p:cNvPr>
          <p:cNvPicPr>
            <a:picLocks noChangeAspect="1" noChangeArrowheads="1"/>
          </p:cNvPicPr>
          <p:nvPr userDrawn="1"/>
        </p:nvPicPr>
        <p:blipFill>
          <a:blip r:embed="rId6" cstate="email">
            <a:grayscl/>
            <a:alphaModFix amt="70000"/>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8632648" y="-363857"/>
            <a:ext cx="3950312" cy="3932557"/>
          </a:xfrm>
          <a:prstGeom prst="ellipse">
            <a:avLst/>
          </a:prstGeom>
          <a:ln w="190500" cap="rnd">
            <a:noFill/>
            <a:prstDash val="solid"/>
          </a:ln>
          <a:effectLst/>
          <a:scene3d>
            <a:camera prst="orthographicFront"/>
            <a:lightRig rig="threePt" dir="t">
              <a:rot lat="0" lon="0" rev="19200000"/>
            </a:lightRig>
          </a:scene3d>
          <a:sp3d extrusionH="25400">
            <a:extrusionClr>
              <a:srgbClr val="000000"/>
            </a:extrusionClr>
          </a:sp3d>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A99491C7-827C-0987-41EA-57A86A2E8440}"/>
              </a:ext>
            </a:extLst>
          </p:cNvPr>
          <p:cNvSpPr>
            <a:spLocks noGrp="1"/>
          </p:cNvSpPr>
          <p:nvPr>
            <p:ph type="sldNum" sz="quarter" idx="13"/>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94339667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CTIVITY DESCRIPTION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flipV="1">
            <a:off x="2805" y="1100725"/>
            <a:ext cx="5813766" cy="5767436"/>
          </a:xfrm>
          <a:prstGeom prst="rect">
            <a:avLst/>
          </a:prstGeom>
        </p:spPr>
      </p:pic>
      <p:sp>
        <p:nvSpPr>
          <p:cNvPr id="3" name="Rectangle: Rounded Corners 2">
            <a:extLst>
              <a:ext uri="{FF2B5EF4-FFF2-40B4-BE49-F238E27FC236}">
                <a16:creationId xmlns:a16="http://schemas.microsoft.com/office/drawing/2014/main" id="{8CCBF2A2-4A94-4167-B811-76A9071CFD5E}"/>
              </a:ext>
            </a:extLst>
          </p:cNvPr>
          <p:cNvSpPr/>
          <p:nvPr userDrawn="1"/>
        </p:nvSpPr>
        <p:spPr>
          <a:xfrm>
            <a:off x="1227709" y="162903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DD2800E9-B245-4BF2-A06F-459F6B4DF8EC}"/>
              </a:ext>
            </a:extLst>
          </p:cNvPr>
          <p:cNvSpPr/>
          <p:nvPr userDrawn="1"/>
        </p:nvSpPr>
        <p:spPr>
          <a:xfrm>
            <a:off x="1227709" y="2814061"/>
            <a:ext cx="8419747" cy="1850988"/>
          </a:xfrm>
          <a:prstGeom prst="roundRect">
            <a:avLst>
              <a:gd name="adj" fmla="val 10491"/>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BEDB912A-94C7-48E7-9C7D-6933F5A16D89}"/>
              </a:ext>
            </a:extLst>
          </p:cNvPr>
          <p:cNvSpPr/>
          <p:nvPr userDrawn="1"/>
        </p:nvSpPr>
        <p:spPr>
          <a:xfrm>
            <a:off x="1227709" y="505399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ext Placeholder 17">
            <a:extLst>
              <a:ext uri="{FF2B5EF4-FFF2-40B4-BE49-F238E27FC236}">
                <a16:creationId xmlns:a16="http://schemas.microsoft.com/office/drawing/2014/main" id="{87DC52E1-61B4-41C6-9C1B-78B53F41A182}"/>
              </a:ext>
            </a:extLst>
          </p:cNvPr>
          <p:cNvSpPr>
            <a:spLocks noGrp="1"/>
          </p:cNvSpPr>
          <p:nvPr>
            <p:ph type="body" sz="quarter" idx="10" hasCustomPrompt="1"/>
          </p:nvPr>
        </p:nvSpPr>
        <p:spPr>
          <a:xfrm>
            <a:off x="1886455" y="1750950"/>
            <a:ext cx="6540302"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grouping</a:t>
            </a:r>
          </a:p>
        </p:txBody>
      </p:sp>
      <p:sp>
        <p:nvSpPr>
          <p:cNvPr id="22" name="Text Placeholder 17">
            <a:extLst>
              <a:ext uri="{FF2B5EF4-FFF2-40B4-BE49-F238E27FC236}">
                <a16:creationId xmlns:a16="http://schemas.microsoft.com/office/drawing/2014/main" id="{5D33661A-E879-4955-BAB9-AA7B3C955E42}"/>
              </a:ext>
            </a:extLst>
          </p:cNvPr>
          <p:cNvSpPr>
            <a:spLocks noGrp="1"/>
          </p:cNvSpPr>
          <p:nvPr>
            <p:ph type="body" sz="quarter" idx="11" hasCustomPrompt="1"/>
          </p:nvPr>
        </p:nvSpPr>
        <p:spPr>
          <a:xfrm>
            <a:off x="1879600" y="5203901"/>
            <a:ext cx="7334511" cy="525458"/>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timing</a:t>
            </a:r>
          </a:p>
        </p:txBody>
      </p:sp>
      <p:sp>
        <p:nvSpPr>
          <p:cNvPr id="23" name="Text Placeholder 17">
            <a:extLst>
              <a:ext uri="{FF2B5EF4-FFF2-40B4-BE49-F238E27FC236}">
                <a16:creationId xmlns:a16="http://schemas.microsoft.com/office/drawing/2014/main" id="{694DBE2C-2418-448B-A0C4-52EECB64EBA6}"/>
              </a:ext>
            </a:extLst>
          </p:cNvPr>
          <p:cNvSpPr>
            <a:spLocks noGrp="1"/>
          </p:cNvSpPr>
          <p:nvPr>
            <p:ph type="body" sz="quarter" idx="12" hasCustomPrompt="1"/>
          </p:nvPr>
        </p:nvSpPr>
        <p:spPr>
          <a:xfrm>
            <a:off x="1879600" y="2963177"/>
            <a:ext cx="7334511" cy="1547004"/>
          </a:xfrm>
          <a:prstGeom prst="rect">
            <a:avLst/>
          </a:prstGeom>
        </p:spPr>
        <p:txBody>
          <a:bodyPr anchor="ctr"/>
          <a:lstStyle>
            <a:lvl1pPr marL="0" indent="0">
              <a:buNone/>
              <a:defRPr sz="2400">
                <a:solidFill>
                  <a:schemeClr val="tx1">
                    <a:lumMod val="65000"/>
                    <a:lumOff val="35000"/>
                  </a:schemeClr>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description</a:t>
            </a:r>
          </a:p>
        </p:txBody>
      </p:sp>
      <p:sp>
        <p:nvSpPr>
          <p:cNvPr id="6" name="Oval 5">
            <a:extLst>
              <a:ext uri="{FF2B5EF4-FFF2-40B4-BE49-F238E27FC236}">
                <a16:creationId xmlns:a16="http://schemas.microsoft.com/office/drawing/2014/main" id="{E5C9CD84-B7FC-41A4-A340-898AE0C16ED6}"/>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Circle: Hollow 6">
            <a:extLst>
              <a:ext uri="{FF2B5EF4-FFF2-40B4-BE49-F238E27FC236}">
                <a16:creationId xmlns:a16="http://schemas.microsoft.com/office/drawing/2014/main" id="{2E82F2B6-D24A-416E-A187-4E49DE485402}"/>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9" name="Circle: Hollow 8">
            <a:extLst>
              <a:ext uri="{FF2B5EF4-FFF2-40B4-BE49-F238E27FC236}">
                <a16:creationId xmlns:a16="http://schemas.microsoft.com/office/drawing/2014/main" id="{C4CCA36C-426E-4A63-9A07-DEB4BFCB3FAF}"/>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23">
            <a:extLst>
              <a:ext uri="{FF2B5EF4-FFF2-40B4-BE49-F238E27FC236}">
                <a16:creationId xmlns:a16="http://schemas.microsoft.com/office/drawing/2014/main" id="{E4CF5DA5-4716-4782-9501-A8F5107FB95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307949" y="1717481"/>
            <a:ext cx="498268" cy="573587"/>
          </a:xfrm>
          <a:prstGeom prst="rect">
            <a:avLst/>
          </a:prstGeom>
        </p:spPr>
      </p:pic>
      <p:pic>
        <p:nvPicPr>
          <p:cNvPr id="25" name="Picture 24">
            <a:extLst>
              <a:ext uri="{FF2B5EF4-FFF2-40B4-BE49-F238E27FC236}">
                <a16:creationId xmlns:a16="http://schemas.microsoft.com/office/drawing/2014/main" id="{53847704-7CBE-4510-BC64-B020E26571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238405" y="3391793"/>
            <a:ext cx="668829" cy="620625"/>
          </a:xfrm>
          <a:prstGeom prst="rect">
            <a:avLst/>
          </a:prstGeom>
        </p:spPr>
      </p:pic>
      <p:pic>
        <p:nvPicPr>
          <p:cNvPr id="1026" name="Picture 2">
            <a:extLst>
              <a:ext uri="{FF2B5EF4-FFF2-40B4-BE49-F238E27FC236}">
                <a16:creationId xmlns:a16="http://schemas.microsoft.com/office/drawing/2014/main" id="{4257E957-3DBE-477B-97FB-9F76589E1283}"/>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257513" y="5176199"/>
            <a:ext cx="581561" cy="573455"/>
          </a:xfrm>
          <a:prstGeom prst="rect">
            <a:avLst/>
          </a:prstGeom>
          <a:noFill/>
          <a:extLst>
            <a:ext uri="{909E8E84-426E-40DD-AFC4-6F175D3DCCD1}">
              <a14:hiddenFill xmlns:a14="http://schemas.microsoft.com/office/drawing/2010/main">
                <a:solidFill>
                  <a:srgbClr val="FFFFFF"/>
                </a:solidFill>
              </a14:hiddenFill>
            </a:ext>
          </a:extLst>
        </p:spPr>
      </p:pic>
      <p:sp>
        <p:nvSpPr>
          <p:cNvPr id="21" name="Picture Placeholder 2">
            <a:extLst>
              <a:ext uri="{FF2B5EF4-FFF2-40B4-BE49-F238E27FC236}">
                <a16:creationId xmlns:a16="http://schemas.microsoft.com/office/drawing/2014/main" id="{E986AB6F-E24C-434A-A8D2-81FF08CF8E07}"/>
              </a:ext>
            </a:extLst>
          </p:cNvPr>
          <p:cNvSpPr>
            <a:spLocks noGrp="1" noChangeAspect="1"/>
          </p:cNvSpPr>
          <p:nvPr>
            <p:ph type="pic" sz="quarter" idx="13"/>
          </p:nvPr>
        </p:nvSpPr>
        <p:spPr>
          <a:xfrm>
            <a:off x="8654777" y="-346796"/>
            <a:ext cx="3892823" cy="3892823"/>
          </a:xfrm>
          <a:prstGeom prst="ellipse">
            <a:avLst/>
          </a:prstGeom>
          <a:ln>
            <a:noFill/>
          </a:ln>
        </p:spPr>
        <p:txBody>
          <a:bodyPr/>
          <a:lstStyle/>
          <a:p>
            <a:endParaRPr lang="nl-NL"/>
          </a:p>
        </p:txBody>
      </p:sp>
      <p:sp>
        <p:nvSpPr>
          <p:cNvPr id="2" name="Slide Number Placeholder 1">
            <a:extLst>
              <a:ext uri="{FF2B5EF4-FFF2-40B4-BE49-F238E27FC236}">
                <a16:creationId xmlns:a16="http://schemas.microsoft.com/office/drawing/2014/main" id="{A96B5B76-4260-8BD0-D4DB-35B2520A894B}"/>
              </a:ext>
            </a:extLst>
          </p:cNvPr>
          <p:cNvSpPr>
            <a:spLocks noGrp="1"/>
          </p:cNvSpPr>
          <p:nvPr>
            <p:ph type="sldNum" sz="quarter" idx="14"/>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07052221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2" name="Slide Number Placeholder 1">
            <a:extLst>
              <a:ext uri="{FF2B5EF4-FFF2-40B4-BE49-F238E27FC236}">
                <a16:creationId xmlns:a16="http://schemas.microsoft.com/office/drawing/2014/main" id="{5132F22F-C6EF-7EA4-26E0-6B1E7ACFA691}"/>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37417770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NOTES P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5080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33481"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7" name="Rectangle: Rounded Corners 6">
            <a:extLst>
              <a:ext uri="{FF2B5EF4-FFF2-40B4-BE49-F238E27FC236}">
                <a16:creationId xmlns:a16="http://schemas.microsoft.com/office/drawing/2014/main" id="{B010EA47-4C5C-49EB-A69D-D0A21BE4735C}"/>
              </a:ext>
            </a:extLst>
          </p:cNvPr>
          <p:cNvSpPr/>
          <p:nvPr userDrawn="1"/>
        </p:nvSpPr>
        <p:spPr>
          <a:xfrm>
            <a:off x="4801415" y="996972"/>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D51E019A-245B-4E0B-B864-90683F6AECF2}"/>
              </a:ext>
            </a:extLst>
          </p:cNvPr>
          <p:cNvSpPr/>
          <p:nvPr userDrawn="1"/>
        </p:nvSpPr>
        <p:spPr>
          <a:xfrm>
            <a:off x="8581648" y="996972"/>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7015ADE4-5BC5-4D7C-87CE-574134FFD385}"/>
              </a:ext>
            </a:extLst>
          </p:cNvPr>
          <p:cNvSpPr/>
          <p:nvPr userDrawn="1"/>
        </p:nvSpPr>
        <p:spPr>
          <a:xfrm>
            <a:off x="214334" y="1441802"/>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713E4885-1DD0-4F60-BD87-A2BF20B02563}"/>
              </a:ext>
            </a:extLst>
          </p:cNvPr>
          <p:cNvSpPr/>
          <p:nvPr userDrawn="1"/>
        </p:nvSpPr>
        <p:spPr>
          <a:xfrm>
            <a:off x="309505" y="1394753"/>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51172AE3-15A4-4C0B-96BF-46AB5C7BFD17}"/>
              </a:ext>
            </a:extLst>
          </p:cNvPr>
          <p:cNvSpPr/>
          <p:nvPr userDrawn="1"/>
        </p:nvSpPr>
        <p:spPr>
          <a:xfrm>
            <a:off x="391902" y="1346200"/>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Rounded Corners 15">
            <a:extLst>
              <a:ext uri="{FF2B5EF4-FFF2-40B4-BE49-F238E27FC236}">
                <a16:creationId xmlns:a16="http://schemas.microsoft.com/office/drawing/2014/main" id="{1A186C83-D957-408A-95BB-404DC8AFB447}"/>
              </a:ext>
            </a:extLst>
          </p:cNvPr>
          <p:cNvSpPr/>
          <p:nvPr userDrawn="1"/>
        </p:nvSpPr>
        <p:spPr>
          <a:xfrm>
            <a:off x="785298" y="996972"/>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3" name="Straight Connector 2">
            <a:extLst>
              <a:ext uri="{FF2B5EF4-FFF2-40B4-BE49-F238E27FC236}">
                <a16:creationId xmlns:a16="http://schemas.microsoft.com/office/drawing/2014/main" id="{E7F00E61-CB13-4FDB-92C8-09428B2A2912}"/>
              </a:ext>
            </a:extLst>
          </p:cNvPr>
          <p:cNvCxnSpPr/>
          <p:nvPr userDrawn="1"/>
        </p:nvCxnSpPr>
        <p:spPr>
          <a:xfrm>
            <a:off x="635000" y="19939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EF346B0-A95C-48B9-A290-06C06790D29C}"/>
              </a:ext>
            </a:extLst>
          </p:cNvPr>
          <p:cNvCxnSpPr/>
          <p:nvPr userDrawn="1"/>
        </p:nvCxnSpPr>
        <p:spPr>
          <a:xfrm>
            <a:off x="635000" y="23876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1D5D22-03F2-4603-9A4B-31ADD75146BA}"/>
              </a:ext>
            </a:extLst>
          </p:cNvPr>
          <p:cNvCxnSpPr/>
          <p:nvPr userDrawn="1"/>
        </p:nvCxnSpPr>
        <p:spPr>
          <a:xfrm>
            <a:off x="635000" y="27813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0932137-CE10-40E7-AF72-2AF6441D557E}"/>
              </a:ext>
            </a:extLst>
          </p:cNvPr>
          <p:cNvCxnSpPr/>
          <p:nvPr userDrawn="1"/>
        </p:nvCxnSpPr>
        <p:spPr>
          <a:xfrm>
            <a:off x="635000" y="31750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5D976C0-9010-495E-8687-22D2D2339066}"/>
              </a:ext>
            </a:extLst>
          </p:cNvPr>
          <p:cNvCxnSpPr/>
          <p:nvPr userDrawn="1"/>
        </p:nvCxnSpPr>
        <p:spPr>
          <a:xfrm>
            <a:off x="635000" y="35560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2AA7FEA-704B-4CEB-AFF9-62776B1ED952}"/>
              </a:ext>
            </a:extLst>
          </p:cNvPr>
          <p:cNvCxnSpPr/>
          <p:nvPr userDrawn="1"/>
        </p:nvCxnSpPr>
        <p:spPr>
          <a:xfrm>
            <a:off x="635000" y="39497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459D435-0084-44F4-A9FF-36D7E11B4EA7}"/>
              </a:ext>
            </a:extLst>
          </p:cNvPr>
          <p:cNvCxnSpPr/>
          <p:nvPr userDrawn="1"/>
        </p:nvCxnSpPr>
        <p:spPr>
          <a:xfrm>
            <a:off x="635000" y="43434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8FB8BAA-BC4E-494C-B2D3-623655122E9E}"/>
              </a:ext>
            </a:extLst>
          </p:cNvPr>
          <p:cNvCxnSpPr/>
          <p:nvPr userDrawn="1"/>
        </p:nvCxnSpPr>
        <p:spPr>
          <a:xfrm>
            <a:off x="635000" y="47371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B726947-6207-4EF7-A480-EAC4AB48CB94}"/>
              </a:ext>
            </a:extLst>
          </p:cNvPr>
          <p:cNvCxnSpPr/>
          <p:nvPr userDrawn="1"/>
        </p:nvCxnSpPr>
        <p:spPr>
          <a:xfrm>
            <a:off x="635000" y="51054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850983E-0922-4848-8BBD-B4F450D15804}"/>
              </a:ext>
            </a:extLst>
          </p:cNvPr>
          <p:cNvCxnSpPr/>
          <p:nvPr userDrawn="1"/>
        </p:nvCxnSpPr>
        <p:spPr>
          <a:xfrm>
            <a:off x="635000" y="54991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6A1BA1B-5D82-43C1-8101-C7F3DA63F151}"/>
              </a:ext>
            </a:extLst>
          </p:cNvPr>
          <p:cNvCxnSpPr/>
          <p:nvPr userDrawn="1"/>
        </p:nvCxnSpPr>
        <p:spPr>
          <a:xfrm>
            <a:off x="635000" y="58928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50664C4-7DEA-48F9-A56C-77C8E17A5A35}"/>
              </a:ext>
            </a:extLst>
          </p:cNvPr>
          <p:cNvCxnSpPr/>
          <p:nvPr userDrawn="1"/>
        </p:nvCxnSpPr>
        <p:spPr>
          <a:xfrm>
            <a:off x="635000" y="6286500"/>
            <a:ext cx="1097303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33" name="Google Shape;300;p37">
            <a:extLst>
              <a:ext uri="{FF2B5EF4-FFF2-40B4-BE49-F238E27FC236}">
                <a16:creationId xmlns:a16="http://schemas.microsoft.com/office/drawing/2014/main" id="{42364757-2F22-41CE-BB9C-3743F572EC2C}"/>
              </a:ext>
            </a:extLst>
          </p:cNvPr>
          <p:cNvGrpSpPr/>
          <p:nvPr userDrawn="1"/>
        </p:nvGrpSpPr>
        <p:grpSpPr>
          <a:xfrm>
            <a:off x="10234932" y="5043296"/>
            <a:ext cx="1381760" cy="1428161"/>
            <a:chOff x="0" y="0"/>
            <a:chExt cx="1060600" cy="1114925"/>
          </a:xfrm>
        </p:grpSpPr>
        <p:sp>
          <p:nvSpPr>
            <p:cNvPr id="34" name="Google Shape;301;p37">
              <a:extLst>
                <a:ext uri="{FF2B5EF4-FFF2-40B4-BE49-F238E27FC236}">
                  <a16:creationId xmlns:a16="http://schemas.microsoft.com/office/drawing/2014/main" id="{2EBEDB48-71DF-4C2A-BD77-35E19189232A}"/>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5" name="Google Shape;302;p37">
              <a:extLst>
                <a:ext uri="{FF2B5EF4-FFF2-40B4-BE49-F238E27FC236}">
                  <a16:creationId xmlns:a16="http://schemas.microsoft.com/office/drawing/2014/main" id="{AE1AC300-EF3E-4835-A1EE-CC9189A68697}"/>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6" name="Google Shape;303;p37">
              <a:extLst>
                <a:ext uri="{FF2B5EF4-FFF2-40B4-BE49-F238E27FC236}">
                  <a16:creationId xmlns:a16="http://schemas.microsoft.com/office/drawing/2014/main" id="{FE7532A3-4115-4C43-86A2-4F3AC8ECA9D7}"/>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7" name="Google Shape;304;p37">
              <a:extLst>
                <a:ext uri="{FF2B5EF4-FFF2-40B4-BE49-F238E27FC236}">
                  <a16:creationId xmlns:a16="http://schemas.microsoft.com/office/drawing/2014/main" id="{B86D9B73-C442-47E1-9A52-2E28EC8DAFF6}"/>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8" name="Google Shape;305;p37">
              <a:extLst>
                <a:ext uri="{FF2B5EF4-FFF2-40B4-BE49-F238E27FC236}">
                  <a16:creationId xmlns:a16="http://schemas.microsoft.com/office/drawing/2014/main" id="{12ED333C-C5F0-4CFB-ACBC-4936367BC83B}"/>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9" name="Google Shape;306;p37">
              <a:extLst>
                <a:ext uri="{FF2B5EF4-FFF2-40B4-BE49-F238E27FC236}">
                  <a16:creationId xmlns:a16="http://schemas.microsoft.com/office/drawing/2014/main" id="{99DA13B5-76A7-48B9-90A9-59F55AD9ADDD}"/>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0" name="Google Shape;307;p37">
              <a:extLst>
                <a:ext uri="{FF2B5EF4-FFF2-40B4-BE49-F238E27FC236}">
                  <a16:creationId xmlns:a16="http://schemas.microsoft.com/office/drawing/2014/main" id="{6C43807A-9E2E-4495-A2CD-0D95193D095E}"/>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1" name="Google Shape;308;p37">
              <a:extLst>
                <a:ext uri="{FF2B5EF4-FFF2-40B4-BE49-F238E27FC236}">
                  <a16:creationId xmlns:a16="http://schemas.microsoft.com/office/drawing/2014/main" id="{6ADFD19A-177A-4E11-A30D-48652BCEED46}"/>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2" name="Google Shape;309;p37">
              <a:extLst>
                <a:ext uri="{FF2B5EF4-FFF2-40B4-BE49-F238E27FC236}">
                  <a16:creationId xmlns:a16="http://schemas.microsoft.com/office/drawing/2014/main" id="{980C309C-D98D-4BC0-80B4-67AA859D274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3" name="Google Shape;310;p37">
              <a:extLst>
                <a:ext uri="{FF2B5EF4-FFF2-40B4-BE49-F238E27FC236}">
                  <a16:creationId xmlns:a16="http://schemas.microsoft.com/office/drawing/2014/main" id="{0974C0AE-34FE-4874-B073-4B8F931D8CED}"/>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4" name="Google Shape;311;p37">
              <a:extLst>
                <a:ext uri="{FF2B5EF4-FFF2-40B4-BE49-F238E27FC236}">
                  <a16:creationId xmlns:a16="http://schemas.microsoft.com/office/drawing/2014/main" id="{E636AD03-9F8C-4878-9B97-81093452BAED}"/>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2" name="Slide Number Placeholder 1">
            <a:extLst>
              <a:ext uri="{FF2B5EF4-FFF2-40B4-BE49-F238E27FC236}">
                <a16:creationId xmlns:a16="http://schemas.microsoft.com/office/drawing/2014/main" id="{C82BFAC5-D876-C826-E9D9-09FDE1FBFC77}"/>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13723249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NOTES PAGE_NO LINES">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5080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33481"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7" name="Rectangle: Rounded Corners 6">
            <a:extLst>
              <a:ext uri="{FF2B5EF4-FFF2-40B4-BE49-F238E27FC236}">
                <a16:creationId xmlns:a16="http://schemas.microsoft.com/office/drawing/2014/main" id="{B010EA47-4C5C-49EB-A69D-D0A21BE4735C}"/>
              </a:ext>
            </a:extLst>
          </p:cNvPr>
          <p:cNvSpPr/>
          <p:nvPr userDrawn="1"/>
        </p:nvSpPr>
        <p:spPr>
          <a:xfrm>
            <a:off x="4801415" y="996972"/>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D51E019A-245B-4E0B-B864-90683F6AECF2}"/>
              </a:ext>
            </a:extLst>
          </p:cNvPr>
          <p:cNvSpPr/>
          <p:nvPr userDrawn="1"/>
        </p:nvSpPr>
        <p:spPr>
          <a:xfrm>
            <a:off x="8581648" y="996972"/>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7015ADE4-5BC5-4D7C-87CE-574134FFD385}"/>
              </a:ext>
            </a:extLst>
          </p:cNvPr>
          <p:cNvSpPr/>
          <p:nvPr userDrawn="1"/>
        </p:nvSpPr>
        <p:spPr>
          <a:xfrm>
            <a:off x="214334" y="1441802"/>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713E4885-1DD0-4F60-BD87-A2BF20B02563}"/>
              </a:ext>
            </a:extLst>
          </p:cNvPr>
          <p:cNvSpPr/>
          <p:nvPr userDrawn="1"/>
        </p:nvSpPr>
        <p:spPr>
          <a:xfrm>
            <a:off x="309505" y="1394753"/>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Rounded Corners 14">
            <a:extLst>
              <a:ext uri="{FF2B5EF4-FFF2-40B4-BE49-F238E27FC236}">
                <a16:creationId xmlns:a16="http://schemas.microsoft.com/office/drawing/2014/main" id="{51172AE3-15A4-4C0B-96BF-46AB5C7BFD17}"/>
              </a:ext>
            </a:extLst>
          </p:cNvPr>
          <p:cNvSpPr/>
          <p:nvPr userDrawn="1"/>
        </p:nvSpPr>
        <p:spPr>
          <a:xfrm>
            <a:off x="391902" y="1346200"/>
            <a:ext cx="11393698" cy="5194510"/>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Rounded Corners 15">
            <a:extLst>
              <a:ext uri="{FF2B5EF4-FFF2-40B4-BE49-F238E27FC236}">
                <a16:creationId xmlns:a16="http://schemas.microsoft.com/office/drawing/2014/main" id="{1A186C83-D957-408A-95BB-404DC8AFB447}"/>
              </a:ext>
            </a:extLst>
          </p:cNvPr>
          <p:cNvSpPr/>
          <p:nvPr userDrawn="1"/>
        </p:nvSpPr>
        <p:spPr>
          <a:xfrm>
            <a:off x="785298" y="996972"/>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33" name="Google Shape;300;p37">
            <a:extLst>
              <a:ext uri="{FF2B5EF4-FFF2-40B4-BE49-F238E27FC236}">
                <a16:creationId xmlns:a16="http://schemas.microsoft.com/office/drawing/2014/main" id="{42364757-2F22-41CE-BB9C-3743F572EC2C}"/>
              </a:ext>
            </a:extLst>
          </p:cNvPr>
          <p:cNvGrpSpPr/>
          <p:nvPr userDrawn="1"/>
        </p:nvGrpSpPr>
        <p:grpSpPr>
          <a:xfrm>
            <a:off x="10234932" y="5043296"/>
            <a:ext cx="1381760" cy="1428161"/>
            <a:chOff x="0" y="0"/>
            <a:chExt cx="1060600" cy="1114925"/>
          </a:xfrm>
        </p:grpSpPr>
        <p:sp>
          <p:nvSpPr>
            <p:cNvPr id="34" name="Google Shape;301;p37">
              <a:extLst>
                <a:ext uri="{FF2B5EF4-FFF2-40B4-BE49-F238E27FC236}">
                  <a16:creationId xmlns:a16="http://schemas.microsoft.com/office/drawing/2014/main" id="{2EBEDB48-71DF-4C2A-BD77-35E19189232A}"/>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5" name="Google Shape;302;p37">
              <a:extLst>
                <a:ext uri="{FF2B5EF4-FFF2-40B4-BE49-F238E27FC236}">
                  <a16:creationId xmlns:a16="http://schemas.microsoft.com/office/drawing/2014/main" id="{AE1AC300-EF3E-4835-A1EE-CC9189A68697}"/>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6" name="Google Shape;303;p37">
              <a:extLst>
                <a:ext uri="{FF2B5EF4-FFF2-40B4-BE49-F238E27FC236}">
                  <a16:creationId xmlns:a16="http://schemas.microsoft.com/office/drawing/2014/main" id="{FE7532A3-4115-4C43-86A2-4F3AC8ECA9D7}"/>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7" name="Google Shape;304;p37">
              <a:extLst>
                <a:ext uri="{FF2B5EF4-FFF2-40B4-BE49-F238E27FC236}">
                  <a16:creationId xmlns:a16="http://schemas.microsoft.com/office/drawing/2014/main" id="{B86D9B73-C442-47E1-9A52-2E28EC8DAFF6}"/>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8" name="Google Shape;305;p37">
              <a:extLst>
                <a:ext uri="{FF2B5EF4-FFF2-40B4-BE49-F238E27FC236}">
                  <a16:creationId xmlns:a16="http://schemas.microsoft.com/office/drawing/2014/main" id="{12ED333C-C5F0-4CFB-ACBC-4936367BC83B}"/>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39" name="Google Shape;306;p37">
              <a:extLst>
                <a:ext uri="{FF2B5EF4-FFF2-40B4-BE49-F238E27FC236}">
                  <a16:creationId xmlns:a16="http://schemas.microsoft.com/office/drawing/2014/main" id="{99DA13B5-76A7-48B9-90A9-59F55AD9ADDD}"/>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0" name="Google Shape;307;p37">
              <a:extLst>
                <a:ext uri="{FF2B5EF4-FFF2-40B4-BE49-F238E27FC236}">
                  <a16:creationId xmlns:a16="http://schemas.microsoft.com/office/drawing/2014/main" id="{6C43807A-9E2E-4495-A2CD-0D95193D095E}"/>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1" name="Google Shape;308;p37">
              <a:extLst>
                <a:ext uri="{FF2B5EF4-FFF2-40B4-BE49-F238E27FC236}">
                  <a16:creationId xmlns:a16="http://schemas.microsoft.com/office/drawing/2014/main" id="{6ADFD19A-177A-4E11-A30D-48652BCEED46}"/>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2" name="Google Shape;309;p37">
              <a:extLst>
                <a:ext uri="{FF2B5EF4-FFF2-40B4-BE49-F238E27FC236}">
                  <a16:creationId xmlns:a16="http://schemas.microsoft.com/office/drawing/2014/main" id="{980C309C-D98D-4BC0-80B4-67AA859D274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3" name="Google Shape;310;p37">
              <a:extLst>
                <a:ext uri="{FF2B5EF4-FFF2-40B4-BE49-F238E27FC236}">
                  <a16:creationId xmlns:a16="http://schemas.microsoft.com/office/drawing/2014/main" id="{0974C0AE-34FE-4874-B073-4B8F931D8CED}"/>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44" name="Google Shape;311;p37">
              <a:extLst>
                <a:ext uri="{FF2B5EF4-FFF2-40B4-BE49-F238E27FC236}">
                  <a16:creationId xmlns:a16="http://schemas.microsoft.com/office/drawing/2014/main" id="{E636AD03-9F8C-4878-9B97-81093452BAED}"/>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4" name="Text Placeholder 3">
            <a:extLst>
              <a:ext uri="{FF2B5EF4-FFF2-40B4-BE49-F238E27FC236}">
                <a16:creationId xmlns:a16="http://schemas.microsoft.com/office/drawing/2014/main" id="{4A7C25AF-998D-B81E-FC24-65220BF2AA43}"/>
              </a:ext>
            </a:extLst>
          </p:cNvPr>
          <p:cNvSpPr>
            <a:spLocks noGrp="1"/>
          </p:cNvSpPr>
          <p:nvPr>
            <p:ph type="body" sz="quarter" idx="10" hasCustomPrompt="1"/>
          </p:nvPr>
        </p:nvSpPr>
        <p:spPr>
          <a:xfrm>
            <a:off x="565309" y="1742074"/>
            <a:ext cx="9968553" cy="4615441"/>
          </a:xfrm>
          <a:prstGeom prst="rect">
            <a:avLst/>
          </a:prstGeom>
        </p:spPr>
        <p:txBody>
          <a:bodyPr/>
          <a:lstStyle>
            <a:lvl1pPr marL="0" indent="0">
              <a:buNone/>
              <a:defRPr sz="1600">
                <a:latin typeface="Ink Free" panose="03080402000500000000" pitchFamily="66" charset="0"/>
              </a:defRPr>
            </a:lvl1pPr>
          </a:lstStyle>
          <a:p>
            <a:pPr lvl="0"/>
            <a:r>
              <a:rPr lang="en-US"/>
              <a:t>Click here to type your notes</a:t>
            </a:r>
            <a:endParaRPr lang="nl-NL"/>
          </a:p>
        </p:txBody>
      </p:sp>
      <p:sp>
        <p:nvSpPr>
          <p:cNvPr id="2" name="Slide Number Placeholder 1">
            <a:extLst>
              <a:ext uri="{FF2B5EF4-FFF2-40B4-BE49-F238E27FC236}">
                <a16:creationId xmlns:a16="http://schemas.microsoft.com/office/drawing/2014/main" id="{15001EA6-5638-084B-4EF0-3ADFB66472AA}"/>
              </a:ext>
            </a:extLst>
          </p:cNvPr>
          <p:cNvSpPr>
            <a:spLocks noGrp="1"/>
          </p:cNvSpPr>
          <p:nvPr>
            <p:ph type="sldNum" sz="quarter" idx="11"/>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9870068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ACTIVITY CONTENT P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99B8E53-FFBC-4D45-AAD8-87ED27CD918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7">
            <a:extLst>
              <a:ext uri="{FF2B5EF4-FFF2-40B4-BE49-F238E27FC236}">
                <a16:creationId xmlns:a16="http://schemas.microsoft.com/office/drawing/2014/main" id="{44129AD2-E0F3-4D9C-9F90-CC5CF8600EC5}"/>
              </a:ext>
            </a:extLst>
          </p:cNvPr>
          <p:cNvSpPr/>
          <p:nvPr userDrawn="1"/>
        </p:nvSpPr>
        <p:spPr>
          <a:xfrm rot="10800000">
            <a:off x="-17319" y="2716951"/>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le Placeholder 1"/>
          <p:cNvSpPr>
            <a:spLocks noGrp="1"/>
          </p:cNvSpPr>
          <p:nvPr>
            <p:ph type="title"/>
          </p:nvPr>
        </p:nvSpPr>
        <p:spPr>
          <a:xfrm>
            <a:off x="179783" y="0"/>
            <a:ext cx="8335571" cy="969554"/>
          </a:xfrm>
          <a:prstGeom prst="rect">
            <a:avLst/>
          </a:prstGeom>
        </p:spPr>
        <p:txBody>
          <a:bodyPr vert="horz" lIns="91440" tIns="45720" rIns="91440" bIns="45720" rtlCol="0" anchor="ctr">
            <a:normAutofit/>
          </a:bodyPr>
          <a:lstStyle>
            <a:lvl1pPr>
              <a:defRPr sz="32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val="0"/>
              </a:ext>
            </a:extLst>
          </a:blip>
          <a:srcRect l="17198" t="7727"/>
          <a:stretch/>
        </p:blipFill>
        <p:spPr>
          <a:xfrm flipV="1">
            <a:off x="2805" y="1100725"/>
            <a:ext cx="5813766" cy="5767436"/>
          </a:xfrm>
          <a:prstGeom prst="rect">
            <a:avLst/>
          </a:prstGeom>
        </p:spPr>
      </p:pic>
      <p:sp>
        <p:nvSpPr>
          <p:cNvPr id="3" name="Rectangle: Rounded Corners 2">
            <a:extLst>
              <a:ext uri="{FF2B5EF4-FFF2-40B4-BE49-F238E27FC236}">
                <a16:creationId xmlns:a16="http://schemas.microsoft.com/office/drawing/2014/main" id="{8CCBF2A2-4A94-4167-B811-76A9071CFD5E}"/>
              </a:ext>
            </a:extLst>
          </p:cNvPr>
          <p:cNvSpPr/>
          <p:nvPr userDrawn="1"/>
        </p:nvSpPr>
        <p:spPr>
          <a:xfrm>
            <a:off x="1227710" y="1601040"/>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Rectangle: Rounded Corners 11">
            <a:extLst>
              <a:ext uri="{FF2B5EF4-FFF2-40B4-BE49-F238E27FC236}">
                <a16:creationId xmlns:a16="http://schemas.microsoft.com/office/drawing/2014/main" id="{DD2800E9-B245-4BF2-A06F-459F6B4DF8EC}"/>
              </a:ext>
            </a:extLst>
          </p:cNvPr>
          <p:cNvSpPr/>
          <p:nvPr userDrawn="1"/>
        </p:nvSpPr>
        <p:spPr>
          <a:xfrm>
            <a:off x="1227709" y="2814061"/>
            <a:ext cx="8419747" cy="1850988"/>
          </a:xfrm>
          <a:prstGeom prst="roundRect">
            <a:avLst>
              <a:gd name="adj" fmla="val 10491"/>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Rectangle: Rounded Corners 13">
            <a:extLst>
              <a:ext uri="{FF2B5EF4-FFF2-40B4-BE49-F238E27FC236}">
                <a16:creationId xmlns:a16="http://schemas.microsoft.com/office/drawing/2014/main" id="{BEDB912A-94C7-48E7-9C7D-6933F5A16D89}"/>
              </a:ext>
            </a:extLst>
          </p:cNvPr>
          <p:cNvSpPr/>
          <p:nvPr userDrawn="1"/>
        </p:nvSpPr>
        <p:spPr>
          <a:xfrm>
            <a:off x="1227709" y="5053991"/>
            <a:ext cx="8419747" cy="825278"/>
          </a:xfrm>
          <a:prstGeom prst="roundRect">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Text Placeholder 17">
            <a:extLst>
              <a:ext uri="{FF2B5EF4-FFF2-40B4-BE49-F238E27FC236}">
                <a16:creationId xmlns:a16="http://schemas.microsoft.com/office/drawing/2014/main" id="{87DC52E1-61B4-41C6-9C1B-78B53F41A182}"/>
              </a:ext>
            </a:extLst>
          </p:cNvPr>
          <p:cNvSpPr>
            <a:spLocks noGrp="1"/>
          </p:cNvSpPr>
          <p:nvPr>
            <p:ph type="body" sz="quarter" idx="10" hasCustomPrompt="1"/>
          </p:nvPr>
        </p:nvSpPr>
        <p:spPr>
          <a:xfrm>
            <a:off x="1886455" y="1750950"/>
            <a:ext cx="6540302" cy="525458"/>
          </a:xfrm>
          <a:prstGeom prst="rect">
            <a:avLst/>
          </a:prstGeom>
        </p:spPr>
        <p:txBody>
          <a:bodyPr anchor="ctr"/>
          <a:lstStyle>
            <a:lvl1pPr marL="0" indent="0">
              <a:buNone/>
              <a:defRPr sz="2400">
                <a:solidFill>
                  <a:schemeClr val="tx1"/>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grouping</a:t>
            </a:r>
          </a:p>
        </p:txBody>
      </p:sp>
      <p:sp>
        <p:nvSpPr>
          <p:cNvPr id="22" name="Text Placeholder 17">
            <a:extLst>
              <a:ext uri="{FF2B5EF4-FFF2-40B4-BE49-F238E27FC236}">
                <a16:creationId xmlns:a16="http://schemas.microsoft.com/office/drawing/2014/main" id="{5D33661A-E879-4955-BAB9-AA7B3C955E42}"/>
              </a:ext>
            </a:extLst>
          </p:cNvPr>
          <p:cNvSpPr>
            <a:spLocks noGrp="1"/>
          </p:cNvSpPr>
          <p:nvPr>
            <p:ph type="body" sz="quarter" idx="11" hasCustomPrompt="1"/>
          </p:nvPr>
        </p:nvSpPr>
        <p:spPr>
          <a:xfrm>
            <a:off x="1879600" y="5203901"/>
            <a:ext cx="7334511" cy="525458"/>
          </a:xfrm>
          <a:prstGeom prst="rect">
            <a:avLst/>
          </a:prstGeom>
        </p:spPr>
        <p:txBody>
          <a:bodyPr anchor="ctr"/>
          <a:lstStyle>
            <a:lvl1pPr marL="0" indent="0">
              <a:buNone/>
              <a:defRPr sz="2400">
                <a:solidFill>
                  <a:schemeClr val="tx1"/>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timing</a:t>
            </a:r>
          </a:p>
        </p:txBody>
      </p:sp>
      <p:sp>
        <p:nvSpPr>
          <p:cNvPr id="23" name="Text Placeholder 17">
            <a:extLst>
              <a:ext uri="{FF2B5EF4-FFF2-40B4-BE49-F238E27FC236}">
                <a16:creationId xmlns:a16="http://schemas.microsoft.com/office/drawing/2014/main" id="{694DBE2C-2418-448B-A0C4-52EECB64EBA6}"/>
              </a:ext>
            </a:extLst>
          </p:cNvPr>
          <p:cNvSpPr>
            <a:spLocks noGrp="1"/>
          </p:cNvSpPr>
          <p:nvPr>
            <p:ph type="body" sz="quarter" idx="12" hasCustomPrompt="1"/>
          </p:nvPr>
        </p:nvSpPr>
        <p:spPr>
          <a:xfrm>
            <a:off x="1879600" y="2963177"/>
            <a:ext cx="7334511" cy="1547004"/>
          </a:xfrm>
          <a:prstGeom prst="rect">
            <a:avLst/>
          </a:prstGeom>
        </p:spPr>
        <p:txBody>
          <a:bodyPr anchor="ctr"/>
          <a:lstStyle>
            <a:lvl1pPr marL="0" indent="0">
              <a:buNone/>
              <a:defRPr sz="2400">
                <a:solidFill>
                  <a:schemeClr val="tx1"/>
                </a:solidFill>
                <a:latin typeface="Ink Free" panose="03080402000500000000" pitchFamily="66" charset="0"/>
                <a:ea typeface="Delivery" panose="020F0503020204020204" pitchFamily="34" charset="0"/>
                <a:cs typeface="Delivery" panose="020F0503020204020204" pitchFamily="34" charset="0"/>
              </a:defRPr>
            </a:lvl1pPr>
          </a:lstStyle>
          <a:p>
            <a:pPr lvl="0"/>
            <a:r>
              <a:rPr lang="en-US"/>
              <a:t>Click to add activity description</a:t>
            </a:r>
          </a:p>
        </p:txBody>
      </p:sp>
      <p:pic>
        <p:nvPicPr>
          <p:cNvPr id="24" name="Picture 23">
            <a:extLst>
              <a:ext uri="{FF2B5EF4-FFF2-40B4-BE49-F238E27FC236}">
                <a16:creationId xmlns:a16="http://schemas.microsoft.com/office/drawing/2014/main" id="{E4CF5DA5-4716-4782-9501-A8F5107FB95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6032" t="20124" r="25409" b="24245"/>
          <a:stretch/>
        </p:blipFill>
        <p:spPr>
          <a:xfrm>
            <a:off x="1307949" y="1717481"/>
            <a:ext cx="498268" cy="573587"/>
          </a:xfrm>
          <a:prstGeom prst="rect">
            <a:avLst/>
          </a:prstGeom>
        </p:spPr>
      </p:pic>
      <p:pic>
        <p:nvPicPr>
          <p:cNvPr id="25" name="Picture 24">
            <a:extLst>
              <a:ext uri="{FF2B5EF4-FFF2-40B4-BE49-F238E27FC236}">
                <a16:creationId xmlns:a16="http://schemas.microsoft.com/office/drawing/2014/main" id="{53847704-7CBE-4510-BC64-B020E265714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9396" t="19375" r="18082" b="22747"/>
          <a:stretch/>
        </p:blipFill>
        <p:spPr>
          <a:xfrm>
            <a:off x="1238405" y="3391793"/>
            <a:ext cx="668829" cy="620625"/>
          </a:xfrm>
          <a:prstGeom prst="rect">
            <a:avLst/>
          </a:prstGeom>
        </p:spPr>
      </p:pic>
      <p:pic>
        <p:nvPicPr>
          <p:cNvPr id="1026" name="Picture 2">
            <a:extLst>
              <a:ext uri="{FF2B5EF4-FFF2-40B4-BE49-F238E27FC236}">
                <a16:creationId xmlns:a16="http://schemas.microsoft.com/office/drawing/2014/main" id="{4257E957-3DBE-477B-97FB-9F76589E1283}"/>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257513" y="5176199"/>
            <a:ext cx="581561" cy="573455"/>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E5C9CD84-B7FC-41A4-A340-898AE0C16ED6}"/>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Circle: Hollow 6">
            <a:extLst>
              <a:ext uri="{FF2B5EF4-FFF2-40B4-BE49-F238E27FC236}">
                <a16:creationId xmlns:a16="http://schemas.microsoft.com/office/drawing/2014/main" id="{2E82F2B6-D24A-416E-A187-4E49DE485402}"/>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9" name="Circle: Hollow 8">
            <a:extLst>
              <a:ext uri="{FF2B5EF4-FFF2-40B4-BE49-F238E27FC236}">
                <a16:creationId xmlns:a16="http://schemas.microsoft.com/office/drawing/2014/main" id="{C4CCA36C-426E-4A63-9A07-DEB4BFCB3FAF}"/>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028" name="Picture 4">
            <a:extLst>
              <a:ext uri="{FF2B5EF4-FFF2-40B4-BE49-F238E27FC236}">
                <a16:creationId xmlns:a16="http://schemas.microsoft.com/office/drawing/2014/main" id="{4FB6D550-E9CE-4FA3-8A58-428B76CA8F5D}"/>
              </a:ext>
            </a:extLst>
          </p:cNvPr>
          <p:cNvPicPr>
            <a:picLocks noChangeAspect="1" noChangeArrowheads="1"/>
          </p:cNvPicPr>
          <p:nvPr userDrawn="1"/>
        </p:nvPicPr>
        <p:blipFill>
          <a:blip r:embed="rId6">
            <a:grayscl/>
            <a:alphaModFix amt="70000"/>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8632648" y="-363857"/>
            <a:ext cx="3950312" cy="3932557"/>
          </a:xfrm>
          <a:prstGeom prst="ellipse">
            <a:avLst/>
          </a:prstGeom>
          <a:ln w="190500" cap="rnd">
            <a:noFill/>
            <a:prstDash val="solid"/>
          </a:ln>
          <a:effectLst/>
          <a:scene3d>
            <a:camera prst="orthographicFront"/>
            <a:lightRig rig="threePt" dir="t">
              <a:rot lat="0" lon="0" rev="19200000"/>
            </a:lightRig>
          </a:scene3d>
          <a:sp3d extrusionH="25400">
            <a:extrusionClr>
              <a:srgbClr val="000000"/>
            </a:extrusionClr>
          </a:sp3d>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4D4399CC-69FA-4C71-A24E-8D5FD200490A}"/>
              </a:ext>
            </a:extLst>
          </p:cNvPr>
          <p:cNvSpPr>
            <a:spLocks noGrp="1"/>
          </p:cNvSpPr>
          <p:nvPr>
            <p:ph type="sldNum" sz="quarter" idx="13"/>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61244298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HANK YOU PAGE AF 2">
    <p:bg>
      <p:bgPr>
        <a:solidFill>
          <a:schemeClr val="bg1"/>
        </a:solidFill>
        <a:effectLst/>
      </p:bgPr>
    </p:bg>
    <p:spTree>
      <p:nvGrpSpPr>
        <p:cNvPr id="1" name=""/>
        <p:cNvGrpSpPr/>
        <p:nvPr/>
      </p:nvGrpSpPr>
      <p:grpSpPr>
        <a:xfrm>
          <a:off x="0" y="0"/>
          <a:ext cx="0" cy="0"/>
          <a:chOff x="0" y="0"/>
          <a:chExt cx="0" cy="0"/>
        </a:xfrm>
      </p:grpSpPr>
      <p:pic>
        <p:nvPicPr>
          <p:cNvPr id="56" name="Picture 2">
            <a:extLst>
              <a:ext uri="{FF2B5EF4-FFF2-40B4-BE49-F238E27FC236}">
                <a16:creationId xmlns:a16="http://schemas.microsoft.com/office/drawing/2014/main" id="{4B875472-0CD0-4D97-A4E1-91E9A8328F02}"/>
              </a:ext>
            </a:extLst>
          </p:cNvPr>
          <p:cNvPicPr>
            <a:picLocks noChangeAspect="1" noChangeArrowheads="1"/>
          </p:cNvPicPr>
          <p:nvPr userDrawn="1"/>
        </p:nvPicPr>
        <p:blipFill>
          <a:blip r:embed="rId2">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668" y="0"/>
            <a:ext cx="788103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a:extLst>
              <a:ext uri="{FF2B5EF4-FFF2-40B4-BE49-F238E27FC236}">
                <a16:creationId xmlns:a16="http://schemas.microsoft.com/office/drawing/2014/main" id="{261F6108-3E62-4C9F-849C-46A22A4940DF}"/>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140" b="99482" l="55885" r="99477">
                        <a14:foregroundMark x1="89974" y1="2073" x2="91718" y2="27047"/>
                        <a14:foregroundMark x1="97384" y1="6943" x2="98131" y2="35469"/>
                        <a14:foregroundMark x1="98954" y1="64870" x2="90759" y2="99689"/>
                        <a14:foregroundMark x1="65475" y1="62280" x2="71752" y2="98342"/>
                        <a14:foregroundMark x1="99477" y1="98342" x2="92589" y2="98964"/>
                        <a14:foregroundMark x1="92589" y1="98964" x2="73147" y2="97409"/>
                        <a14:foregroundMark x1="73147" y1="97409" x2="62772" y2="97409"/>
                        <a14:foregroundMark x1="62772" y1="97409" x2="62249" y2="97824"/>
                        <a14:foregroundMark x1="93287" y1="76580" x2="81779" y2="89741"/>
                        <a14:foregroundMark x1="81779" y1="89741" x2="81430" y2="90052"/>
                        <a14:foregroundMark x1="65126" y1="65389" x2="57018" y2="83938"/>
                        <a14:foregroundMark x1="57018" y1="83938" x2="55972" y2="91399"/>
                        <a14:foregroundMark x1="55972" y1="91399" x2="56234" y2="93782"/>
                        <a14:foregroundMark x1="92851" y1="37409" x2="77855" y2="39275"/>
                        <a14:foregroundMark x1="85615" y1="48601" x2="84743" y2="53161"/>
                        <a14:foregroundMark x1="94159" y1="3212" x2="65737" y2="25596"/>
                        <a14:foregroundMark x1="85615" y1="1140" x2="67568" y2="16166"/>
                        <a14:foregroundMark x1="74106" y1="4456" x2="69137" y2="13368"/>
                        <a14:foregroundMark x1="70793" y1="7668" x2="66434" y2="18342"/>
                        <a14:foregroundMark x1="98169" y1="41347" x2="97472" y2="43212"/>
                        <a14:backgroundMark x1="99420" y1="42340" x2="99477" y2="45699"/>
                        <a14:backgroundMark x1="99303" y1="35440" x2="99414" y2="41966"/>
                        <a14:backgroundMark x1="99477" y1="45699" x2="95728" y2="60000"/>
                        <a14:backgroundMark x1="71578" y1="44870" x2="70445" y2="61658"/>
                        <a14:backgroundMark x1="70445" y1="61658" x2="71055" y2="63005"/>
                        <a14:backgroundMark x1="63644" y1="59482" x2="57890" y2="64663"/>
                        <a14:backgroundMark x1="53531" y1="92642" x2="53705" y2="97306"/>
                        <a14:backgroundMark x1="91020" y1="415" x2="86574" y2="829"/>
                        <a14:backgroundMark x1="83958" y1="0" x2="83173" y2="0"/>
                      </a14:backgroundRemoval>
                    </a14:imgEffect>
                  </a14:imgLayer>
                </a14:imgProps>
              </a:ext>
              <a:ext uri="{28A0092B-C50C-407E-A947-70E740481C1C}">
                <a14:useLocalDpi xmlns:a14="http://schemas.microsoft.com/office/drawing/2010/main" val="0"/>
              </a:ext>
            </a:extLst>
          </a:blip>
          <a:srcRect l="51893"/>
          <a:stretch/>
        </p:blipFill>
        <p:spPr bwMode="auto">
          <a:xfrm flipH="1">
            <a:off x="-6030" y="-16126"/>
            <a:ext cx="3791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1C47F234-0A60-4960-850E-D7781A59071D}"/>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10" name="Group 9">
            <a:extLst>
              <a:ext uri="{FF2B5EF4-FFF2-40B4-BE49-F238E27FC236}">
                <a16:creationId xmlns:a16="http://schemas.microsoft.com/office/drawing/2014/main" id="{89517E1E-13C9-41DE-B8B6-85208D9852AE}"/>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97EDEBF5-B318-4F20-98E0-A5EEDF1165FB}"/>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99ED2D3C-D048-4639-AECA-73D9C3948E99}"/>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B8EB2903-AA1F-42AD-B0A9-D6274F815D15}"/>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F4199C2E-807F-43A8-A499-EBE88A24A0A3}"/>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6398FC5B-6E56-4C97-AEC8-01592F57DB5B}"/>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0685FE09-4D20-4C04-B53A-DA88BFC9EB4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D589A8C9-F558-45E8-AC82-B54687BE6655}"/>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6C883584-BFCD-40AD-8EFA-D2A8A62C7B0A}"/>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C6F2F031-BA0D-460B-A758-60915EAEC071}"/>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65FF7D9-FD14-4844-B7A8-AF564567DB96}"/>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DDB206D4-1889-484D-807B-796F58382B1E}"/>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B0EDFE87-AF38-4993-8346-49BF237346C4}"/>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1C00934C-7580-4B89-86A6-EE5836A863F4}"/>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62A043CB-D9FE-47AB-93F7-CCB2A0B731A6}"/>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FB56B01D-4300-4DEA-8ED7-63CE4DDFB2B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D0009705-0F62-42E0-8505-1AEE053BE78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C664632D-B114-4CE7-8938-54B4D2F6A50D}"/>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5C86EC49-10A3-4174-BD7B-1B420B1A9AC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053E8A9B-81B2-4BEE-879A-C296B59A3262}"/>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F09970AF-51F0-43A9-B6C7-5AE88348950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4A1D494F-33C3-485D-A5FE-80939935685A}"/>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771143BF-A24E-4ED5-9D8D-599F220F1423}"/>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FF6484BD-887D-4FF0-9DD5-0A01BF62A75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306482A0-147A-4950-8C53-BAC1E52172DF}"/>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82749C75-A67C-4720-AB92-DC49143EEC7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7919612C-6DBE-4CE3-B77B-2B7B3198514C}"/>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F708FE6B-B0C6-4AD7-9444-2BD3F93A3618}"/>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5BCFC0A7-853C-495B-9D68-EA009544765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A257126C-3FEB-4719-A85E-BB9B6E08B7B7}"/>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BA26391D-B704-4736-9086-3AFB6EE2C8D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3D732B-79E6-4292-8812-4FF89620B7E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70C8A1EE-A5AC-437F-A736-A9BC03F64570}"/>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550BEEA3-3B8A-4ECA-935D-32D25E87EFBD}"/>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8DACAAD8-2D35-4D45-B1C2-345DFD060D95}"/>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C01AD63C-45AD-4EC1-9665-AB4855AFDC18}"/>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5729DBDB-C379-4BA1-AE43-B2A644932BA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7C087-52BC-4EFC-BD09-20152F47ED9E}"/>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0107CC9-94EB-4B97-B1C6-E75EDABBE6CF}"/>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6B275410-3950-451A-8F58-0AD448F97BA5}"/>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9DE0AEFE-063C-43D2-BC75-96E8F09953DB}"/>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3F872ED9-D0B8-4E00-A97F-2945B3CDC4BC}"/>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8B0131FC-FE78-4B3B-8273-515AC1331A43}"/>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EAA97C30-6846-3D7E-56B4-56A012F7320F}"/>
              </a:ext>
            </a:extLst>
          </p:cNvPr>
          <p:cNvGrpSpPr/>
          <p:nvPr userDrawn="1"/>
        </p:nvGrpSpPr>
        <p:grpSpPr>
          <a:xfrm>
            <a:off x="196915" y="169320"/>
            <a:ext cx="4935802" cy="736664"/>
            <a:chOff x="0" y="0"/>
            <a:chExt cx="3793402" cy="559435"/>
          </a:xfrm>
        </p:grpSpPr>
        <p:sp>
          <p:nvSpPr>
            <p:cNvPr id="3" name="Rectangle 2">
              <a:extLst>
                <a:ext uri="{FF2B5EF4-FFF2-40B4-BE49-F238E27FC236}">
                  <a16:creationId xmlns:a16="http://schemas.microsoft.com/office/drawing/2014/main" id="{88950DC9-22B3-0BF2-DE14-FEC784D0C409}"/>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4" name="Picture 3">
              <a:extLst>
                <a:ext uri="{FF2B5EF4-FFF2-40B4-BE49-F238E27FC236}">
                  <a16:creationId xmlns:a16="http://schemas.microsoft.com/office/drawing/2014/main" id="{F85F7C73-70AF-F449-BF6E-3BA9617D124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F0A9A9D2-FA22-6A47-0DAF-F104DF23E40B}"/>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BFD13127-6796-C293-BFCE-31F1D4A9803A}"/>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427669093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LF REFLECTION PAGE">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grpSp>
        <p:nvGrpSpPr>
          <p:cNvPr id="73" name="Group 72">
            <a:extLst>
              <a:ext uri="{FF2B5EF4-FFF2-40B4-BE49-F238E27FC236}">
                <a16:creationId xmlns:a16="http://schemas.microsoft.com/office/drawing/2014/main" id="{E4777B42-32A3-4712-8778-BC1FBB94A9A4}"/>
              </a:ext>
            </a:extLst>
          </p:cNvPr>
          <p:cNvGrpSpPr/>
          <p:nvPr userDrawn="1"/>
        </p:nvGrpSpPr>
        <p:grpSpPr>
          <a:xfrm>
            <a:off x="328402" y="1626178"/>
            <a:ext cx="3684798" cy="4914531"/>
            <a:chOff x="391902" y="1626178"/>
            <a:chExt cx="3684798" cy="4914531"/>
          </a:xfrm>
        </p:grpSpPr>
        <p:sp>
          <p:nvSpPr>
            <p:cNvPr id="32" name="Rectangle: Rounded Corners 31">
              <a:extLst>
                <a:ext uri="{FF2B5EF4-FFF2-40B4-BE49-F238E27FC236}">
                  <a16:creationId xmlns:a16="http://schemas.microsoft.com/office/drawing/2014/main" id="{F42498E7-9A6A-4427-8E01-F3E38A5DD94C}"/>
                </a:ext>
              </a:extLst>
            </p:cNvPr>
            <p:cNvSpPr/>
            <p:nvPr userDrawn="1"/>
          </p:nvSpPr>
          <p:spPr>
            <a:xfrm>
              <a:off x="3919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44" name="Straight Connector 43">
              <a:extLst>
                <a:ext uri="{FF2B5EF4-FFF2-40B4-BE49-F238E27FC236}">
                  <a16:creationId xmlns:a16="http://schemas.microsoft.com/office/drawing/2014/main" id="{3FD2213E-8523-42D2-8A46-34DF2FE69AEE}"/>
                </a:ext>
              </a:extLst>
            </p:cNvPr>
            <p:cNvCxnSpPr>
              <a:cxnSpLocks/>
            </p:cNvCxnSpPr>
            <p:nvPr userDrawn="1"/>
          </p:nvCxnSpPr>
          <p:spPr>
            <a:xfrm>
              <a:off x="468102" y="252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EA5F2B6-D2DA-477F-A7BB-C5F24C00ED62}"/>
                </a:ext>
              </a:extLst>
            </p:cNvPr>
            <p:cNvCxnSpPr>
              <a:cxnSpLocks/>
            </p:cNvCxnSpPr>
            <p:nvPr userDrawn="1"/>
          </p:nvCxnSpPr>
          <p:spPr>
            <a:xfrm>
              <a:off x="468102" y="2806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E06BB17-9F17-4D34-9AE9-A57C30122A74}"/>
                </a:ext>
              </a:extLst>
            </p:cNvPr>
            <p:cNvCxnSpPr>
              <a:cxnSpLocks/>
            </p:cNvCxnSpPr>
            <p:nvPr userDrawn="1"/>
          </p:nvCxnSpPr>
          <p:spPr>
            <a:xfrm>
              <a:off x="468102" y="30734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D38048B-4C19-4DEB-AB7A-507707188C0A}"/>
                </a:ext>
              </a:extLst>
            </p:cNvPr>
            <p:cNvCxnSpPr>
              <a:cxnSpLocks/>
            </p:cNvCxnSpPr>
            <p:nvPr userDrawn="1"/>
          </p:nvCxnSpPr>
          <p:spPr>
            <a:xfrm>
              <a:off x="468102" y="3352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E75C617-67A6-4165-BE30-B8277F4D8427}"/>
                </a:ext>
              </a:extLst>
            </p:cNvPr>
            <p:cNvCxnSpPr>
              <a:cxnSpLocks/>
            </p:cNvCxnSpPr>
            <p:nvPr userDrawn="1"/>
          </p:nvCxnSpPr>
          <p:spPr>
            <a:xfrm>
              <a:off x="468102" y="3606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8B7A866-C123-425A-8015-130AB6D8003B}"/>
                </a:ext>
              </a:extLst>
            </p:cNvPr>
            <p:cNvCxnSpPr>
              <a:cxnSpLocks/>
            </p:cNvCxnSpPr>
            <p:nvPr userDrawn="1"/>
          </p:nvCxnSpPr>
          <p:spPr>
            <a:xfrm>
              <a:off x="468102" y="3886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B223D01-9167-482A-AB67-82CA2B4EAA2D}"/>
                </a:ext>
              </a:extLst>
            </p:cNvPr>
            <p:cNvCxnSpPr>
              <a:cxnSpLocks/>
            </p:cNvCxnSpPr>
            <p:nvPr userDrawn="1"/>
          </p:nvCxnSpPr>
          <p:spPr>
            <a:xfrm>
              <a:off x="468102" y="41529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1123CBF-88DA-406B-8D3D-78251EE82CC3}"/>
                </a:ext>
              </a:extLst>
            </p:cNvPr>
            <p:cNvCxnSpPr>
              <a:cxnSpLocks/>
            </p:cNvCxnSpPr>
            <p:nvPr userDrawn="1"/>
          </p:nvCxnSpPr>
          <p:spPr>
            <a:xfrm>
              <a:off x="468102" y="4432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879ED9-8608-4F51-B564-A6BCB01EE0A8}"/>
                </a:ext>
              </a:extLst>
            </p:cNvPr>
            <p:cNvCxnSpPr>
              <a:cxnSpLocks/>
            </p:cNvCxnSpPr>
            <p:nvPr userDrawn="1"/>
          </p:nvCxnSpPr>
          <p:spPr>
            <a:xfrm>
              <a:off x="468102" y="4711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00EBBB3-58C6-4497-95B8-94050387DEE3}"/>
                </a:ext>
              </a:extLst>
            </p:cNvPr>
            <p:cNvCxnSpPr>
              <a:cxnSpLocks/>
            </p:cNvCxnSpPr>
            <p:nvPr userDrawn="1"/>
          </p:nvCxnSpPr>
          <p:spPr>
            <a:xfrm>
              <a:off x="468102" y="49911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FDA6CEE-66D2-4A78-8B72-EB96849FD216}"/>
                </a:ext>
              </a:extLst>
            </p:cNvPr>
            <p:cNvCxnSpPr>
              <a:cxnSpLocks/>
            </p:cNvCxnSpPr>
            <p:nvPr userDrawn="1"/>
          </p:nvCxnSpPr>
          <p:spPr>
            <a:xfrm>
              <a:off x="468102" y="5257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1B73F90-12F4-46FD-BA1E-CBA4A1AA02FE}"/>
                </a:ext>
              </a:extLst>
            </p:cNvPr>
            <p:cNvCxnSpPr>
              <a:cxnSpLocks/>
            </p:cNvCxnSpPr>
            <p:nvPr userDrawn="1"/>
          </p:nvCxnSpPr>
          <p:spPr>
            <a:xfrm>
              <a:off x="468102" y="5537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D034444-C5D7-4C42-B856-DAA9DE48B9CC}"/>
                </a:ext>
              </a:extLst>
            </p:cNvPr>
            <p:cNvCxnSpPr>
              <a:cxnSpLocks/>
            </p:cNvCxnSpPr>
            <p:nvPr userDrawn="1"/>
          </p:nvCxnSpPr>
          <p:spPr>
            <a:xfrm>
              <a:off x="468102" y="5791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55C2D1C-12D0-48EA-AD95-8963A2AD9590}"/>
                </a:ext>
              </a:extLst>
            </p:cNvPr>
            <p:cNvCxnSpPr>
              <a:cxnSpLocks/>
            </p:cNvCxnSpPr>
            <p:nvPr userDrawn="1"/>
          </p:nvCxnSpPr>
          <p:spPr>
            <a:xfrm>
              <a:off x="468102" y="60706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1199480-8A3D-4134-8205-81D8882D465A}"/>
                </a:ext>
              </a:extLst>
            </p:cNvPr>
            <p:cNvCxnSpPr>
              <a:cxnSpLocks/>
            </p:cNvCxnSpPr>
            <p:nvPr userDrawn="1"/>
          </p:nvCxnSpPr>
          <p:spPr>
            <a:xfrm>
              <a:off x="468102" y="633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8FB9A94-1E1C-437D-9EAE-EF02563B0EFD}"/>
                </a:ext>
              </a:extLst>
            </p:cNvPr>
            <p:cNvSpPr txBox="1"/>
            <p:nvPr userDrawn="1"/>
          </p:nvSpPr>
          <p:spPr>
            <a:xfrm flipH="1">
              <a:off x="468102" y="1739039"/>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What did you learn from this session? How was it useful?</a:t>
              </a:r>
            </a:p>
          </p:txBody>
        </p:sp>
      </p:grpSp>
      <p:sp>
        <p:nvSpPr>
          <p:cNvPr id="45" name="Rectangle: Rounded Corners 44">
            <a:extLst>
              <a:ext uri="{FF2B5EF4-FFF2-40B4-BE49-F238E27FC236}">
                <a16:creationId xmlns:a16="http://schemas.microsoft.com/office/drawing/2014/main" id="{12D3229C-0AB6-4C9A-BC60-EC460FCEFE37}"/>
              </a:ext>
            </a:extLst>
          </p:cNvPr>
          <p:cNvSpPr/>
          <p:nvPr userDrawn="1"/>
        </p:nvSpPr>
        <p:spPr>
          <a:xfrm>
            <a:off x="419415" y="1451426"/>
            <a:ext cx="1353425" cy="239934"/>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4" name="Group 73">
            <a:extLst>
              <a:ext uri="{FF2B5EF4-FFF2-40B4-BE49-F238E27FC236}">
                <a16:creationId xmlns:a16="http://schemas.microsoft.com/office/drawing/2014/main" id="{A1E1A978-B4C1-419A-9F1C-98542ED88BA1}"/>
              </a:ext>
            </a:extLst>
          </p:cNvPr>
          <p:cNvGrpSpPr/>
          <p:nvPr userDrawn="1"/>
        </p:nvGrpSpPr>
        <p:grpSpPr>
          <a:xfrm>
            <a:off x="4284068" y="1626177"/>
            <a:ext cx="3684798" cy="4914531"/>
            <a:chOff x="391902" y="1626178"/>
            <a:chExt cx="3684798" cy="4914531"/>
          </a:xfrm>
        </p:grpSpPr>
        <p:sp>
          <p:nvSpPr>
            <p:cNvPr id="75" name="Rectangle: Rounded Corners 74">
              <a:extLst>
                <a:ext uri="{FF2B5EF4-FFF2-40B4-BE49-F238E27FC236}">
                  <a16:creationId xmlns:a16="http://schemas.microsoft.com/office/drawing/2014/main" id="{B77E976E-7E2D-437E-A7A8-F335D914D0D7}"/>
                </a:ext>
              </a:extLst>
            </p:cNvPr>
            <p:cNvSpPr/>
            <p:nvPr userDrawn="1"/>
          </p:nvSpPr>
          <p:spPr>
            <a:xfrm>
              <a:off x="3919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76" name="Straight Connector 75">
              <a:extLst>
                <a:ext uri="{FF2B5EF4-FFF2-40B4-BE49-F238E27FC236}">
                  <a16:creationId xmlns:a16="http://schemas.microsoft.com/office/drawing/2014/main" id="{C1069C92-64D5-4E19-95D4-61581EDF0B15}"/>
                </a:ext>
              </a:extLst>
            </p:cNvPr>
            <p:cNvCxnSpPr>
              <a:cxnSpLocks/>
            </p:cNvCxnSpPr>
            <p:nvPr userDrawn="1"/>
          </p:nvCxnSpPr>
          <p:spPr>
            <a:xfrm>
              <a:off x="468102" y="252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C1E749D5-CEB3-4DE6-AB18-727DB76EBB2B}"/>
                </a:ext>
              </a:extLst>
            </p:cNvPr>
            <p:cNvCxnSpPr>
              <a:cxnSpLocks/>
            </p:cNvCxnSpPr>
            <p:nvPr userDrawn="1"/>
          </p:nvCxnSpPr>
          <p:spPr>
            <a:xfrm>
              <a:off x="468102" y="2806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89807CE-341D-40A4-80CC-E23E76568B3E}"/>
                </a:ext>
              </a:extLst>
            </p:cNvPr>
            <p:cNvCxnSpPr>
              <a:cxnSpLocks/>
            </p:cNvCxnSpPr>
            <p:nvPr userDrawn="1"/>
          </p:nvCxnSpPr>
          <p:spPr>
            <a:xfrm>
              <a:off x="468102" y="30734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E075A6A-A3EB-4E48-BCA1-97D67D92B277}"/>
                </a:ext>
              </a:extLst>
            </p:cNvPr>
            <p:cNvCxnSpPr>
              <a:cxnSpLocks/>
            </p:cNvCxnSpPr>
            <p:nvPr userDrawn="1"/>
          </p:nvCxnSpPr>
          <p:spPr>
            <a:xfrm>
              <a:off x="468102" y="3352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00C4848-7901-4792-82B5-62434A3421AA}"/>
                </a:ext>
              </a:extLst>
            </p:cNvPr>
            <p:cNvCxnSpPr>
              <a:cxnSpLocks/>
            </p:cNvCxnSpPr>
            <p:nvPr userDrawn="1"/>
          </p:nvCxnSpPr>
          <p:spPr>
            <a:xfrm>
              <a:off x="468102" y="3606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D8121E0-3EC1-46F4-8833-233B454079BA}"/>
                </a:ext>
              </a:extLst>
            </p:cNvPr>
            <p:cNvCxnSpPr>
              <a:cxnSpLocks/>
            </p:cNvCxnSpPr>
            <p:nvPr userDrawn="1"/>
          </p:nvCxnSpPr>
          <p:spPr>
            <a:xfrm>
              <a:off x="468102" y="3886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F16D176-B3CF-4C12-BE01-F7BEA3EAA513}"/>
                </a:ext>
              </a:extLst>
            </p:cNvPr>
            <p:cNvCxnSpPr>
              <a:cxnSpLocks/>
            </p:cNvCxnSpPr>
            <p:nvPr userDrawn="1"/>
          </p:nvCxnSpPr>
          <p:spPr>
            <a:xfrm>
              <a:off x="468102" y="41529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D8D89E5-6ACE-4446-9D7B-F4ED0BDD88C4}"/>
                </a:ext>
              </a:extLst>
            </p:cNvPr>
            <p:cNvCxnSpPr>
              <a:cxnSpLocks/>
            </p:cNvCxnSpPr>
            <p:nvPr userDrawn="1"/>
          </p:nvCxnSpPr>
          <p:spPr>
            <a:xfrm>
              <a:off x="468102" y="4432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F816A47-D34D-480F-ABD5-08B5B12719CA}"/>
                </a:ext>
              </a:extLst>
            </p:cNvPr>
            <p:cNvCxnSpPr>
              <a:cxnSpLocks/>
            </p:cNvCxnSpPr>
            <p:nvPr userDrawn="1"/>
          </p:nvCxnSpPr>
          <p:spPr>
            <a:xfrm>
              <a:off x="468102" y="4711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650C147-CA50-4E93-81CD-E1340DD5CEA9}"/>
                </a:ext>
              </a:extLst>
            </p:cNvPr>
            <p:cNvCxnSpPr>
              <a:cxnSpLocks/>
            </p:cNvCxnSpPr>
            <p:nvPr userDrawn="1"/>
          </p:nvCxnSpPr>
          <p:spPr>
            <a:xfrm>
              <a:off x="468102" y="49911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15B4673-3480-41B7-9E17-D4E973A58E28}"/>
                </a:ext>
              </a:extLst>
            </p:cNvPr>
            <p:cNvCxnSpPr>
              <a:cxnSpLocks/>
            </p:cNvCxnSpPr>
            <p:nvPr userDrawn="1"/>
          </p:nvCxnSpPr>
          <p:spPr>
            <a:xfrm>
              <a:off x="468102" y="5257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3E357EE-12D2-4878-A574-F4E063B6E774}"/>
                </a:ext>
              </a:extLst>
            </p:cNvPr>
            <p:cNvCxnSpPr>
              <a:cxnSpLocks/>
            </p:cNvCxnSpPr>
            <p:nvPr userDrawn="1"/>
          </p:nvCxnSpPr>
          <p:spPr>
            <a:xfrm>
              <a:off x="468102" y="5537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DFE2E28-7C73-4FBE-9215-6E8D64C56C62}"/>
                </a:ext>
              </a:extLst>
            </p:cNvPr>
            <p:cNvCxnSpPr>
              <a:cxnSpLocks/>
            </p:cNvCxnSpPr>
            <p:nvPr userDrawn="1"/>
          </p:nvCxnSpPr>
          <p:spPr>
            <a:xfrm>
              <a:off x="468102" y="5791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ABABEAED-EB10-4094-89AC-29EA7248FAD4}"/>
                </a:ext>
              </a:extLst>
            </p:cNvPr>
            <p:cNvCxnSpPr>
              <a:cxnSpLocks/>
            </p:cNvCxnSpPr>
            <p:nvPr userDrawn="1"/>
          </p:nvCxnSpPr>
          <p:spPr>
            <a:xfrm>
              <a:off x="468102" y="60706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89BD8221-452E-46B3-BDF3-3441019DBFF2}"/>
                </a:ext>
              </a:extLst>
            </p:cNvPr>
            <p:cNvCxnSpPr>
              <a:cxnSpLocks/>
            </p:cNvCxnSpPr>
            <p:nvPr userDrawn="1"/>
          </p:nvCxnSpPr>
          <p:spPr>
            <a:xfrm>
              <a:off x="468102" y="633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4FD88F49-5DDD-48A5-A784-DD5B0EDE8C56}"/>
                </a:ext>
              </a:extLst>
            </p:cNvPr>
            <p:cNvSpPr txBox="1"/>
            <p:nvPr userDrawn="1"/>
          </p:nvSpPr>
          <p:spPr>
            <a:xfrm flipH="1">
              <a:off x="468102" y="1739039"/>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How do you plan to put in practice whay you learned?</a:t>
              </a:r>
            </a:p>
          </p:txBody>
        </p:sp>
      </p:grpSp>
      <p:sp>
        <p:nvSpPr>
          <p:cNvPr id="55" name="Rectangle: Rounded Corners 54">
            <a:extLst>
              <a:ext uri="{FF2B5EF4-FFF2-40B4-BE49-F238E27FC236}">
                <a16:creationId xmlns:a16="http://schemas.microsoft.com/office/drawing/2014/main" id="{26DA2E06-BF6F-44F2-889F-FB74EF488502}"/>
              </a:ext>
            </a:extLst>
          </p:cNvPr>
          <p:cNvSpPr/>
          <p:nvPr userDrawn="1"/>
        </p:nvSpPr>
        <p:spPr>
          <a:xfrm>
            <a:off x="4358952" y="1472339"/>
            <a:ext cx="1365699" cy="239934"/>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2" name="Group 91">
            <a:extLst>
              <a:ext uri="{FF2B5EF4-FFF2-40B4-BE49-F238E27FC236}">
                <a16:creationId xmlns:a16="http://schemas.microsoft.com/office/drawing/2014/main" id="{8257BD7D-96C3-470C-8BBA-18F14DC4CDCE}"/>
              </a:ext>
            </a:extLst>
          </p:cNvPr>
          <p:cNvGrpSpPr/>
          <p:nvPr userDrawn="1"/>
        </p:nvGrpSpPr>
        <p:grpSpPr>
          <a:xfrm>
            <a:off x="8197624" y="1636464"/>
            <a:ext cx="3684798" cy="4914531"/>
            <a:chOff x="391902" y="1626178"/>
            <a:chExt cx="3684798" cy="4914531"/>
          </a:xfrm>
        </p:grpSpPr>
        <p:sp>
          <p:nvSpPr>
            <p:cNvPr id="93" name="Rectangle: Rounded Corners 92">
              <a:extLst>
                <a:ext uri="{FF2B5EF4-FFF2-40B4-BE49-F238E27FC236}">
                  <a16:creationId xmlns:a16="http://schemas.microsoft.com/office/drawing/2014/main" id="{AE62B214-39C7-4E08-B99C-79B7A172F05E}"/>
                </a:ext>
              </a:extLst>
            </p:cNvPr>
            <p:cNvSpPr/>
            <p:nvPr userDrawn="1"/>
          </p:nvSpPr>
          <p:spPr>
            <a:xfrm>
              <a:off x="3919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94" name="Straight Connector 93">
              <a:extLst>
                <a:ext uri="{FF2B5EF4-FFF2-40B4-BE49-F238E27FC236}">
                  <a16:creationId xmlns:a16="http://schemas.microsoft.com/office/drawing/2014/main" id="{19181C3A-4B1E-4F0C-9C89-FCEF56D5234F}"/>
                </a:ext>
              </a:extLst>
            </p:cNvPr>
            <p:cNvCxnSpPr>
              <a:cxnSpLocks/>
            </p:cNvCxnSpPr>
            <p:nvPr userDrawn="1"/>
          </p:nvCxnSpPr>
          <p:spPr>
            <a:xfrm>
              <a:off x="468102" y="252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394C08C-C088-41B0-967F-05736211CAA5}"/>
                </a:ext>
              </a:extLst>
            </p:cNvPr>
            <p:cNvCxnSpPr>
              <a:cxnSpLocks/>
            </p:cNvCxnSpPr>
            <p:nvPr userDrawn="1"/>
          </p:nvCxnSpPr>
          <p:spPr>
            <a:xfrm>
              <a:off x="468102" y="2806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4D1A2AA-2BA7-4C16-A821-2991DC92020B}"/>
                </a:ext>
              </a:extLst>
            </p:cNvPr>
            <p:cNvCxnSpPr>
              <a:cxnSpLocks/>
            </p:cNvCxnSpPr>
            <p:nvPr userDrawn="1"/>
          </p:nvCxnSpPr>
          <p:spPr>
            <a:xfrm>
              <a:off x="468102" y="30734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27E3DAA-5E4D-4F48-990E-4006CCF46321}"/>
                </a:ext>
              </a:extLst>
            </p:cNvPr>
            <p:cNvCxnSpPr>
              <a:cxnSpLocks/>
            </p:cNvCxnSpPr>
            <p:nvPr userDrawn="1"/>
          </p:nvCxnSpPr>
          <p:spPr>
            <a:xfrm>
              <a:off x="468102" y="3352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40106E8-6FFB-48F2-901D-63AB56838A95}"/>
                </a:ext>
              </a:extLst>
            </p:cNvPr>
            <p:cNvCxnSpPr>
              <a:cxnSpLocks/>
            </p:cNvCxnSpPr>
            <p:nvPr userDrawn="1"/>
          </p:nvCxnSpPr>
          <p:spPr>
            <a:xfrm>
              <a:off x="468102" y="3606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7E58FEF-EB3C-4EE0-96CC-63663E26DCA2}"/>
                </a:ext>
              </a:extLst>
            </p:cNvPr>
            <p:cNvCxnSpPr>
              <a:cxnSpLocks/>
            </p:cNvCxnSpPr>
            <p:nvPr userDrawn="1"/>
          </p:nvCxnSpPr>
          <p:spPr>
            <a:xfrm>
              <a:off x="468102" y="3886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D5D51AA-9A1D-4296-AD3E-02B435DD2D36}"/>
                </a:ext>
              </a:extLst>
            </p:cNvPr>
            <p:cNvCxnSpPr>
              <a:cxnSpLocks/>
            </p:cNvCxnSpPr>
            <p:nvPr userDrawn="1"/>
          </p:nvCxnSpPr>
          <p:spPr>
            <a:xfrm>
              <a:off x="468102" y="41529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28748E1-E4D7-42EB-9F92-FDD3B01516C7}"/>
                </a:ext>
              </a:extLst>
            </p:cNvPr>
            <p:cNvCxnSpPr>
              <a:cxnSpLocks/>
            </p:cNvCxnSpPr>
            <p:nvPr userDrawn="1"/>
          </p:nvCxnSpPr>
          <p:spPr>
            <a:xfrm>
              <a:off x="468102" y="4432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F2D685A-7EA4-47F4-A90F-D8E013517E5B}"/>
                </a:ext>
              </a:extLst>
            </p:cNvPr>
            <p:cNvCxnSpPr>
              <a:cxnSpLocks/>
            </p:cNvCxnSpPr>
            <p:nvPr userDrawn="1"/>
          </p:nvCxnSpPr>
          <p:spPr>
            <a:xfrm>
              <a:off x="468102" y="47117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46D3BE50-E595-4D8F-B054-9B5651C6CF2E}"/>
                </a:ext>
              </a:extLst>
            </p:cNvPr>
            <p:cNvCxnSpPr>
              <a:cxnSpLocks/>
            </p:cNvCxnSpPr>
            <p:nvPr userDrawn="1"/>
          </p:nvCxnSpPr>
          <p:spPr>
            <a:xfrm>
              <a:off x="468102" y="49911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92DDDFE-432C-46EE-8E90-FC12B83D3DDA}"/>
                </a:ext>
              </a:extLst>
            </p:cNvPr>
            <p:cNvCxnSpPr>
              <a:cxnSpLocks/>
            </p:cNvCxnSpPr>
            <p:nvPr userDrawn="1"/>
          </p:nvCxnSpPr>
          <p:spPr>
            <a:xfrm>
              <a:off x="468102" y="52578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49B70D6-F247-46B4-B4AB-04C1E9C31D45}"/>
                </a:ext>
              </a:extLst>
            </p:cNvPr>
            <p:cNvCxnSpPr>
              <a:cxnSpLocks/>
            </p:cNvCxnSpPr>
            <p:nvPr userDrawn="1"/>
          </p:nvCxnSpPr>
          <p:spPr>
            <a:xfrm>
              <a:off x="468102" y="5537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E50169AD-E2DF-4EC9-A40F-9A6095CBC78A}"/>
                </a:ext>
              </a:extLst>
            </p:cNvPr>
            <p:cNvCxnSpPr>
              <a:cxnSpLocks/>
            </p:cNvCxnSpPr>
            <p:nvPr userDrawn="1"/>
          </p:nvCxnSpPr>
          <p:spPr>
            <a:xfrm>
              <a:off x="468102" y="57912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D672CA9-2146-484E-8C91-4C0E672B53FD}"/>
                </a:ext>
              </a:extLst>
            </p:cNvPr>
            <p:cNvCxnSpPr>
              <a:cxnSpLocks/>
            </p:cNvCxnSpPr>
            <p:nvPr userDrawn="1"/>
          </p:nvCxnSpPr>
          <p:spPr>
            <a:xfrm>
              <a:off x="468102" y="60706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0C0DEBBC-1796-4814-9F26-ABB5BD2827CC}"/>
                </a:ext>
              </a:extLst>
            </p:cNvPr>
            <p:cNvCxnSpPr>
              <a:cxnSpLocks/>
            </p:cNvCxnSpPr>
            <p:nvPr userDrawn="1"/>
          </p:nvCxnSpPr>
          <p:spPr>
            <a:xfrm>
              <a:off x="468102" y="6337300"/>
              <a:ext cx="35052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2AF0CA33-BBE3-4B91-9FAE-B904C1FA83B8}"/>
                </a:ext>
              </a:extLst>
            </p:cNvPr>
            <p:cNvSpPr txBox="1"/>
            <p:nvPr userDrawn="1"/>
          </p:nvSpPr>
          <p:spPr>
            <a:xfrm flipH="1">
              <a:off x="468102" y="1739039"/>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How do you think this learning will be useful for you in the future?</a:t>
              </a:r>
            </a:p>
          </p:txBody>
        </p:sp>
      </p:grpSp>
      <p:sp>
        <p:nvSpPr>
          <p:cNvPr id="56" name="Rectangle: Rounded Corners 55">
            <a:extLst>
              <a:ext uri="{FF2B5EF4-FFF2-40B4-BE49-F238E27FC236}">
                <a16:creationId xmlns:a16="http://schemas.microsoft.com/office/drawing/2014/main" id="{22D6ED94-01B1-4EA3-A18D-BF7375C8FBE1}"/>
              </a:ext>
            </a:extLst>
          </p:cNvPr>
          <p:cNvSpPr/>
          <p:nvPr userDrawn="1"/>
        </p:nvSpPr>
        <p:spPr>
          <a:xfrm>
            <a:off x="8282161" y="1489653"/>
            <a:ext cx="1365699" cy="239934"/>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10" name="Google Shape;300;p37">
            <a:extLst>
              <a:ext uri="{FF2B5EF4-FFF2-40B4-BE49-F238E27FC236}">
                <a16:creationId xmlns:a16="http://schemas.microsoft.com/office/drawing/2014/main" id="{CE3E6607-FC55-40FA-A765-40FE8C944B46}"/>
              </a:ext>
            </a:extLst>
          </p:cNvPr>
          <p:cNvGrpSpPr/>
          <p:nvPr userDrawn="1"/>
        </p:nvGrpSpPr>
        <p:grpSpPr>
          <a:xfrm>
            <a:off x="10923183" y="5555438"/>
            <a:ext cx="840105" cy="880745"/>
            <a:chOff x="0" y="0"/>
            <a:chExt cx="1060600" cy="1114925"/>
          </a:xfrm>
        </p:grpSpPr>
        <p:sp>
          <p:nvSpPr>
            <p:cNvPr id="111" name="Google Shape;301;p37">
              <a:extLst>
                <a:ext uri="{FF2B5EF4-FFF2-40B4-BE49-F238E27FC236}">
                  <a16:creationId xmlns:a16="http://schemas.microsoft.com/office/drawing/2014/main" id="{9CBB221F-6297-48D9-A883-BCC6E06996E5}"/>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2" name="Google Shape;302;p37">
              <a:extLst>
                <a:ext uri="{FF2B5EF4-FFF2-40B4-BE49-F238E27FC236}">
                  <a16:creationId xmlns:a16="http://schemas.microsoft.com/office/drawing/2014/main" id="{0B1B3005-D22D-4E6A-8FAE-8B3C089D8F15}"/>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3" name="Google Shape;303;p37">
              <a:extLst>
                <a:ext uri="{FF2B5EF4-FFF2-40B4-BE49-F238E27FC236}">
                  <a16:creationId xmlns:a16="http://schemas.microsoft.com/office/drawing/2014/main" id="{673753D7-EF20-4AE0-9A49-632F7028FE46}"/>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4" name="Google Shape;304;p37">
              <a:extLst>
                <a:ext uri="{FF2B5EF4-FFF2-40B4-BE49-F238E27FC236}">
                  <a16:creationId xmlns:a16="http://schemas.microsoft.com/office/drawing/2014/main" id="{5C615259-F451-4473-A584-3CCFCB935B5E}"/>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5" name="Google Shape;305;p37">
              <a:extLst>
                <a:ext uri="{FF2B5EF4-FFF2-40B4-BE49-F238E27FC236}">
                  <a16:creationId xmlns:a16="http://schemas.microsoft.com/office/drawing/2014/main" id="{D2535FE0-98DB-4BDF-ABC8-6DFBEA5488A6}"/>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6" name="Google Shape;306;p37">
              <a:extLst>
                <a:ext uri="{FF2B5EF4-FFF2-40B4-BE49-F238E27FC236}">
                  <a16:creationId xmlns:a16="http://schemas.microsoft.com/office/drawing/2014/main" id="{CD08A068-21FB-43E0-B392-92C70169D551}"/>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7" name="Google Shape;307;p37">
              <a:extLst>
                <a:ext uri="{FF2B5EF4-FFF2-40B4-BE49-F238E27FC236}">
                  <a16:creationId xmlns:a16="http://schemas.microsoft.com/office/drawing/2014/main" id="{7004FC27-66B6-4C50-A7DD-AED6848D5020}"/>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8" name="Google Shape;308;p37">
              <a:extLst>
                <a:ext uri="{FF2B5EF4-FFF2-40B4-BE49-F238E27FC236}">
                  <a16:creationId xmlns:a16="http://schemas.microsoft.com/office/drawing/2014/main" id="{3F1D5CC3-C0EB-46E4-B417-800EDC8B8E14}"/>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9" name="Google Shape;309;p37">
              <a:extLst>
                <a:ext uri="{FF2B5EF4-FFF2-40B4-BE49-F238E27FC236}">
                  <a16:creationId xmlns:a16="http://schemas.microsoft.com/office/drawing/2014/main" id="{D2023F45-D368-45F8-A480-815665BE826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0" name="Google Shape;310;p37">
              <a:extLst>
                <a:ext uri="{FF2B5EF4-FFF2-40B4-BE49-F238E27FC236}">
                  <a16:creationId xmlns:a16="http://schemas.microsoft.com/office/drawing/2014/main" id="{C1795A1C-49F1-405A-84D7-EB35095FF737}"/>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1" name="Google Shape;311;p37">
              <a:extLst>
                <a:ext uri="{FF2B5EF4-FFF2-40B4-BE49-F238E27FC236}">
                  <a16:creationId xmlns:a16="http://schemas.microsoft.com/office/drawing/2014/main" id="{6039D46A-928A-4370-9A63-EA0CA268852B}"/>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grpSp>
        <p:nvGrpSpPr>
          <p:cNvPr id="122" name="Google Shape;312;p37">
            <a:extLst>
              <a:ext uri="{FF2B5EF4-FFF2-40B4-BE49-F238E27FC236}">
                <a16:creationId xmlns:a16="http://schemas.microsoft.com/office/drawing/2014/main" id="{4D11FDE0-6B4F-4C9D-8456-0914AE2A162C}"/>
              </a:ext>
            </a:extLst>
          </p:cNvPr>
          <p:cNvGrpSpPr/>
          <p:nvPr userDrawn="1"/>
        </p:nvGrpSpPr>
        <p:grpSpPr>
          <a:xfrm>
            <a:off x="387283" y="2379285"/>
            <a:ext cx="866775" cy="647700"/>
            <a:chOff x="0" y="0"/>
            <a:chExt cx="916225" cy="660225"/>
          </a:xfrm>
        </p:grpSpPr>
        <p:sp>
          <p:nvSpPr>
            <p:cNvPr id="123" name="Google Shape;313;p37">
              <a:extLst>
                <a:ext uri="{FF2B5EF4-FFF2-40B4-BE49-F238E27FC236}">
                  <a16:creationId xmlns:a16="http://schemas.microsoft.com/office/drawing/2014/main" id="{DF79A7DF-6896-4E54-8E1E-3DA55AB53B22}"/>
                </a:ext>
              </a:extLst>
            </p:cNvPr>
            <p:cNvSpPr/>
            <p:nvPr userDrawn="1"/>
          </p:nvSpPr>
          <p:spPr>
            <a:xfrm>
              <a:off x="0" y="0"/>
              <a:ext cx="916225" cy="660225"/>
            </a:xfrm>
            <a:custGeom>
              <a:avLst/>
              <a:gdLst/>
              <a:ahLst/>
              <a:cxnLst/>
              <a:rect l="l" t="t" r="r" b="b"/>
              <a:pathLst>
                <a:path w="36649" h="26409" extrusionOk="0">
                  <a:moveTo>
                    <a:pt x="22990" y="1502"/>
                  </a:moveTo>
                  <a:cubicBezTo>
                    <a:pt x="24636" y="1502"/>
                    <a:pt x="26251" y="1775"/>
                    <a:pt x="27734" y="2504"/>
                  </a:cubicBezTo>
                  <a:cubicBezTo>
                    <a:pt x="34704" y="5931"/>
                    <a:pt x="35360" y="15588"/>
                    <a:pt x="28935" y="19943"/>
                  </a:cubicBezTo>
                  <a:cubicBezTo>
                    <a:pt x="28675" y="20118"/>
                    <a:pt x="28439" y="20497"/>
                    <a:pt x="28574" y="20826"/>
                  </a:cubicBezTo>
                  <a:cubicBezTo>
                    <a:pt x="29254" y="22480"/>
                    <a:pt x="30274" y="23815"/>
                    <a:pt x="31605" y="24830"/>
                  </a:cubicBezTo>
                  <a:cubicBezTo>
                    <a:pt x="29557" y="24651"/>
                    <a:pt x="27668" y="23543"/>
                    <a:pt x="26518" y="21715"/>
                  </a:cubicBezTo>
                  <a:cubicBezTo>
                    <a:pt x="26364" y="21470"/>
                    <a:pt x="26128" y="21352"/>
                    <a:pt x="25885" y="21352"/>
                  </a:cubicBezTo>
                  <a:cubicBezTo>
                    <a:pt x="25695" y="21352"/>
                    <a:pt x="25502" y="21424"/>
                    <a:pt x="25338" y="21563"/>
                  </a:cubicBezTo>
                  <a:cubicBezTo>
                    <a:pt x="22839" y="23686"/>
                    <a:pt x="19493" y="24773"/>
                    <a:pt x="16164" y="24773"/>
                  </a:cubicBezTo>
                  <a:cubicBezTo>
                    <a:pt x="11835" y="24773"/>
                    <a:pt x="7535" y="22936"/>
                    <a:pt x="5160" y="19152"/>
                  </a:cubicBezTo>
                  <a:cubicBezTo>
                    <a:pt x="2622" y="15107"/>
                    <a:pt x="4899" y="10120"/>
                    <a:pt x="7851" y="6959"/>
                  </a:cubicBezTo>
                  <a:cubicBezTo>
                    <a:pt x="8283" y="6499"/>
                    <a:pt x="8743" y="6066"/>
                    <a:pt x="9230" y="5662"/>
                  </a:cubicBezTo>
                  <a:cubicBezTo>
                    <a:pt x="11347" y="4267"/>
                    <a:pt x="13707" y="3260"/>
                    <a:pt x="16182" y="2604"/>
                  </a:cubicBezTo>
                  <a:cubicBezTo>
                    <a:pt x="18320" y="2038"/>
                    <a:pt x="20684" y="1502"/>
                    <a:pt x="22990" y="1502"/>
                  </a:cubicBezTo>
                  <a:close/>
                  <a:moveTo>
                    <a:pt x="22921" y="0"/>
                  </a:moveTo>
                  <a:cubicBezTo>
                    <a:pt x="20883" y="0"/>
                    <a:pt x="18812" y="363"/>
                    <a:pt x="16843" y="849"/>
                  </a:cubicBezTo>
                  <a:cubicBezTo>
                    <a:pt x="15554" y="1167"/>
                    <a:pt x="14293" y="1584"/>
                    <a:pt x="13082" y="2104"/>
                  </a:cubicBezTo>
                  <a:cubicBezTo>
                    <a:pt x="6225" y="4767"/>
                    <a:pt x="1" y="12892"/>
                    <a:pt x="3814" y="19616"/>
                  </a:cubicBezTo>
                  <a:cubicBezTo>
                    <a:pt x="6346" y="24082"/>
                    <a:pt x="11197" y="26196"/>
                    <a:pt x="16102" y="26196"/>
                  </a:cubicBezTo>
                  <a:cubicBezTo>
                    <a:pt x="19536" y="26196"/>
                    <a:pt x="22996" y="25160"/>
                    <a:pt x="25706" y="23169"/>
                  </a:cubicBezTo>
                  <a:cubicBezTo>
                    <a:pt x="27286" y="25232"/>
                    <a:pt x="29698" y="26409"/>
                    <a:pt x="32242" y="26409"/>
                  </a:cubicBezTo>
                  <a:cubicBezTo>
                    <a:pt x="32931" y="26409"/>
                    <a:pt x="33630" y="26323"/>
                    <a:pt x="34324" y="26144"/>
                  </a:cubicBezTo>
                  <a:cubicBezTo>
                    <a:pt x="35137" y="25935"/>
                    <a:pt x="34984" y="24910"/>
                    <a:pt x="34324" y="24641"/>
                  </a:cubicBezTo>
                  <a:cubicBezTo>
                    <a:pt x="32541" y="23914"/>
                    <a:pt x="31137" y="22589"/>
                    <a:pt x="30302" y="20875"/>
                  </a:cubicBezTo>
                  <a:cubicBezTo>
                    <a:pt x="36648" y="16007"/>
                    <a:pt x="36480" y="6187"/>
                    <a:pt x="29567" y="1774"/>
                  </a:cubicBezTo>
                  <a:cubicBezTo>
                    <a:pt x="27529" y="473"/>
                    <a:pt x="25246" y="0"/>
                    <a:pt x="22921"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4" name="Google Shape;314;p37">
              <a:extLst>
                <a:ext uri="{FF2B5EF4-FFF2-40B4-BE49-F238E27FC236}">
                  <a16:creationId xmlns:a16="http://schemas.microsoft.com/office/drawing/2014/main" id="{B3F59764-2211-4809-8809-E37EA2A00CB4}"/>
                </a:ext>
              </a:extLst>
            </p:cNvPr>
            <p:cNvSpPr/>
            <p:nvPr userDrawn="1"/>
          </p:nvSpPr>
          <p:spPr>
            <a:xfrm>
              <a:off x="292975" y="392575"/>
              <a:ext cx="44325" cy="37875"/>
            </a:xfrm>
            <a:custGeom>
              <a:avLst/>
              <a:gdLst/>
              <a:ahLst/>
              <a:cxnLst/>
              <a:rect l="l" t="t" r="r" b="b"/>
              <a:pathLst>
                <a:path w="1773" h="1515" extrusionOk="0">
                  <a:moveTo>
                    <a:pt x="894" y="0"/>
                  </a:moveTo>
                  <a:cubicBezTo>
                    <a:pt x="405" y="0"/>
                    <a:pt x="1" y="547"/>
                    <a:pt x="280" y="1044"/>
                  </a:cubicBezTo>
                  <a:cubicBezTo>
                    <a:pt x="405" y="1267"/>
                    <a:pt x="569" y="1455"/>
                    <a:pt x="836" y="1501"/>
                  </a:cubicBezTo>
                  <a:cubicBezTo>
                    <a:pt x="890" y="1510"/>
                    <a:pt x="942" y="1514"/>
                    <a:pt x="992" y="1514"/>
                  </a:cubicBezTo>
                  <a:cubicBezTo>
                    <a:pt x="1457" y="1514"/>
                    <a:pt x="1772" y="1142"/>
                    <a:pt x="1689" y="648"/>
                  </a:cubicBezTo>
                  <a:cubicBezTo>
                    <a:pt x="1644" y="385"/>
                    <a:pt x="1454" y="215"/>
                    <a:pt x="1232" y="91"/>
                  </a:cubicBezTo>
                  <a:cubicBezTo>
                    <a:pt x="1120" y="28"/>
                    <a:pt x="1004" y="0"/>
                    <a:pt x="894"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5" name="Google Shape;315;p37">
              <a:extLst>
                <a:ext uri="{FF2B5EF4-FFF2-40B4-BE49-F238E27FC236}">
                  <a16:creationId xmlns:a16="http://schemas.microsoft.com/office/drawing/2014/main" id="{843EB960-B149-48D2-B2C7-169E954E0593}"/>
                </a:ext>
              </a:extLst>
            </p:cNvPr>
            <p:cNvSpPr/>
            <p:nvPr userDrawn="1"/>
          </p:nvSpPr>
          <p:spPr>
            <a:xfrm>
              <a:off x="389150" y="360000"/>
              <a:ext cx="60225" cy="53675"/>
            </a:xfrm>
            <a:custGeom>
              <a:avLst/>
              <a:gdLst/>
              <a:ahLst/>
              <a:cxnLst/>
              <a:rect l="l" t="t" r="r" b="b"/>
              <a:pathLst>
                <a:path w="2409" h="2147" extrusionOk="0">
                  <a:moveTo>
                    <a:pt x="1180" y="1"/>
                  </a:moveTo>
                  <a:cubicBezTo>
                    <a:pt x="1097" y="1"/>
                    <a:pt x="1013" y="11"/>
                    <a:pt x="927" y="34"/>
                  </a:cubicBezTo>
                  <a:cubicBezTo>
                    <a:pt x="386" y="183"/>
                    <a:pt x="0" y="802"/>
                    <a:pt x="178" y="1352"/>
                  </a:cubicBezTo>
                  <a:cubicBezTo>
                    <a:pt x="321" y="1795"/>
                    <a:pt x="742" y="2147"/>
                    <a:pt x="1208" y="2147"/>
                  </a:cubicBezTo>
                  <a:cubicBezTo>
                    <a:pt x="1303" y="2147"/>
                    <a:pt x="1399" y="2132"/>
                    <a:pt x="1495" y="2101"/>
                  </a:cubicBezTo>
                  <a:cubicBezTo>
                    <a:pt x="2043" y="1923"/>
                    <a:pt x="2408" y="1365"/>
                    <a:pt x="2244" y="783"/>
                  </a:cubicBezTo>
                  <a:cubicBezTo>
                    <a:pt x="2231" y="741"/>
                    <a:pt x="2219" y="700"/>
                    <a:pt x="2209" y="658"/>
                  </a:cubicBezTo>
                  <a:cubicBezTo>
                    <a:pt x="2137" y="379"/>
                    <a:pt x="1900" y="141"/>
                    <a:pt x="1621" y="69"/>
                  </a:cubicBezTo>
                  <a:cubicBezTo>
                    <a:pt x="1473" y="32"/>
                    <a:pt x="1328" y="1"/>
                    <a:pt x="118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6" name="Google Shape;316;p37">
              <a:extLst>
                <a:ext uri="{FF2B5EF4-FFF2-40B4-BE49-F238E27FC236}">
                  <a16:creationId xmlns:a16="http://schemas.microsoft.com/office/drawing/2014/main" id="{7165BA37-08A4-4E09-BB0E-056E6B4D16A6}"/>
                </a:ext>
              </a:extLst>
            </p:cNvPr>
            <p:cNvSpPr/>
            <p:nvPr userDrawn="1"/>
          </p:nvSpPr>
          <p:spPr>
            <a:xfrm>
              <a:off x="474150" y="332650"/>
              <a:ext cx="64550" cy="50050"/>
            </a:xfrm>
            <a:custGeom>
              <a:avLst/>
              <a:gdLst/>
              <a:ahLst/>
              <a:cxnLst/>
              <a:rect l="l" t="t" r="r" b="b"/>
              <a:pathLst>
                <a:path w="2582" h="2002" extrusionOk="0">
                  <a:moveTo>
                    <a:pt x="1291" y="1"/>
                  </a:moveTo>
                  <a:cubicBezTo>
                    <a:pt x="3" y="1"/>
                    <a:pt x="1" y="2002"/>
                    <a:pt x="1291" y="2002"/>
                  </a:cubicBezTo>
                  <a:cubicBezTo>
                    <a:pt x="2579" y="2002"/>
                    <a:pt x="2581" y="1"/>
                    <a:pt x="129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7" name="Google Shape;317;p37">
              <a:extLst>
                <a:ext uri="{FF2B5EF4-FFF2-40B4-BE49-F238E27FC236}">
                  <a16:creationId xmlns:a16="http://schemas.microsoft.com/office/drawing/2014/main" id="{6DE8B1AB-769D-4F9B-82A7-6B291F83E8AC}"/>
                </a:ext>
              </a:extLst>
            </p:cNvPr>
            <p:cNvSpPr/>
            <p:nvPr userDrawn="1"/>
          </p:nvSpPr>
          <p:spPr>
            <a:xfrm>
              <a:off x="576975" y="301125"/>
              <a:ext cx="56125" cy="43525"/>
            </a:xfrm>
            <a:custGeom>
              <a:avLst/>
              <a:gdLst/>
              <a:ahLst/>
              <a:cxnLst/>
              <a:rect l="l" t="t" r="r" b="b"/>
              <a:pathLst>
                <a:path w="2245" h="1741" extrusionOk="0">
                  <a:moveTo>
                    <a:pt x="1123" y="1"/>
                  </a:moveTo>
                  <a:cubicBezTo>
                    <a:pt x="0" y="1"/>
                    <a:pt x="0" y="1741"/>
                    <a:pt x="1123" y="1741"/>
                  </a:cubicBezTo>
                  <a:cubicBezTo>
                    <a:pt x="2242" y="1741"/>
                    <a:pt x="2244" y="1"/>
                    <a:pt x="1123"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128" name="TextBox 127">
            <a:extLst>
              <a:ext uri="{FF2B5EF4-FFF2-40B4-BE49-F238E27FC236}">
                <a16:creationId xmlns:a16="http://schemas.microsoft.com/office/drawing/2014/main" id="{18B1A514-FFCC-4910-B0FD-7A1144DA81CD}"/>
              </a:ext>
            </a:extLst>
          </p:cNvPr>
          <p:cNvSpPr txBox="1"/>
          <p:nvPr userDrawn="1"/>
        </p:nvSpPr>
        <p:spPr>
          <a:xfrm>
            <a:off x="179783" y="192389"/>
            <a:ext cx="7215437"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YOUR REFLECTION – YOUR LEARNING</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2" name="Slide Number Placeholder 1">
            <a:extLst>
              <a:ext uri="{FF2B5EF4-FFF2-40B4-BE49-F238E27FC236}">
                <a16:creationId xmlns:a16="http://schemas.microsoft.com/office/drawing/2014/main" id="{75308783-6137-17A8-2AC5-2E9946FAE08E}"/>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5705246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LF REFLECTION PAGE_NO LINES">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360915" y="0"/>
            <a:ext cx="5813766" cy="5767436"/>
          </a:xfrm>
          <a:prstGeom prst="rect">
            <a:avLst/>
          </a:prstGeom>
        </p:spPr>
      </p:pic>
      <p:sp>
        <p:nvSpPr>
          <p:cNvPr id="32" name="Rectangle: Rounded Corners 31">
            <a:extLst>
              <a:ext uri="{FF2B5EF4-FFF2-40B4-BE49-F238E27FC236}">
                <a16:creationId xmlns:a16="http://schemas.microsoft.com/office/drawing/2014/main" id="{F42498E7-9A6A-4427-8E01-F3E38A5DD94C}"/>
              </a:ext>
            </a:extLst>
          </p:cNvPr>
          <p:cNvSpPr/>
          <p:nvPr userDrawn="1"/>
        </p:nvSpPr>
        <p:spPr>
          <a:xfrm>
            <a:off x="328402" y="1626178"/>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TextBox 71">
            <a:extLst>
              <a:ext uri="{FF2B5EF4-FFF2-40B4-BE49-F238E27FC236}">
                <a16:creationId xmlns:a16="http://schemas.microsoft.com/office/drawing/2014/main" id="{C8FB9A94-1E1C-437D-9EAE-EF02563B0EFD}"/>
              </a:ext>
            </a:extLst>
          </p:cNvPr>
          <p:cNvSpPr txBox="1"/>
          <p:nvPr userDrawn="1"/>
        </p:nvSpPr>
        <p:spPr>
          <a:xfrm flipH="1">
            <a:off x="404602" y="1739039"/>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What did you learn from this session? How was it useful?</a:t>
            </a:r>
          </a:p>
        </p:txBody>
      </p:sp>
      <p:sp>
        <p:nvSpPr>
          <p:cNvPr id="45" name="Rectangle: Rounded Corners 44">
            <a:extLst>
              <a:ext uri="{FF2B5EF4-FFF2-40B4-BE49-F238E27FC236}">
                <a16:creationId xmlns:a16="http://schemas.microsoft.com/office/drawing/2014/main" id="{12D3229C-0AB6-4C9A-BC60-EC460FCEFE37}"/>
              </a:ext>
            </a:extLst>
          </p:cNvPr>
          <p:cNvSpPr/>
          <p:nvPr userDrawn="1"/>
        </p:nvSpPr>
        <p:spPr>
          <a:xfrm>
            <a:off x="419415" y="1451426"/>
            <a:ext cx="1353425" cy="239934"/>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5" name="Rectangle: Rounded Corners 74">
            <a:extLst>
              <a:ext uri="{FF2B5EF4-FFF2-40B4-BE49-F238E27FC236}">
                <a16:creationId xmlns:a16="http://schemas.microsoft.com/office/drawing/2014/main" id="{B77E976E-7E2D-437E-A7A8-F335D914D0D7}"/>
              </a:ext>
            </a:extLst>
          </p:cNvPr>
          <p:cNvSpPr/>
          <p:nvPr userDrawn="1"/>
        </p:nvSpPr>
        <p:spPr>
          <a:xfrm>
            <a:off x="4284068" y="1626177"/>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TextBox 90">
            <a:extLst>
              <a:ext uri="{FF2B5EF4-FFF2-40B4-BE49-F238E27FC236}">
                <a16:creationId xmlns:a16="http://schemas.microsoft.com/office/drawing/2014/main" id="{4FD88F49-5DDD-48A5-A784-DD5B0EDE8C56}"/>
              </a:ext>
            </a:extLst>
          </p:cNvPr>
          <p:cNvSpPr txBox="1"/>
          <p:nvPr userDrawn="1"/>
        </p:nvSpPr>
        <p:spPr>
          <a:xfrm flipH="1">
            <a:off x="4360268" y="1739038"/>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How do you plan to put in practice whay you learned?</a:t>
            </a:r>
          </a:p>
        </p:txBody>
      </p:sp>
      <p:sp>
        <p:nvSpPr>
          <p:cNvPr id="55" name="Rectangle: Rounded Corners 54">
            <a:extLst>
              <a:ext uri="{FF2B5EF4-FFF2-40B4-BE49-F238E27FC236}">
                <a16:creationId xmlns:a16="http://schemas.microsoft.com/office/drawing/2014/main" id="{26DA2E06-BF6F-44F2-889F-FB74EF488502}"/>
              </a:ext>
            </a:extLst>
          </p:cNvPr>
          <p:cNvSpPr/>
          <p:nvPr userDrawn="1"/>
        </p:nvSpPr>
        <p:spPr>
          <a:xfrm>
            <a:off x="4358952" y="1472339"/>
            <a:ext cx="1365699" cy="239934"/>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3" name="Rectangle: Rounded Corners 92">
            <a:extLst>
              <a:ext uri="{FF2B5EF4-FFF2-40B4-BE49-F238E27FC236}">
                <a16:creationId xmlns:a16="http://schemas.microsoft.com/office/drawing/2014/main" id="{AE62B214-39C7-4E08-B99C-79B7A172F05E}"/>
              </a:ext>
            </a:extLst>
          </p:cNvPr>
          <p:cNvSpPr/>
          <p:nvPr userDrawn="1"/>
        </p:nvSpPr>
        <p:spPr>
          <a:xfrm>
            <a:off x="8197624" y="1636464"/>
            <a:ext cx="3684798" cy="4914531"/>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9" name="TextBox 108">
            <a:extLst>
              <a:ext uri="{FF2B5EF4-FFF2-40B4-BE49-F238E27FC236}">
                <a16:creationId xmlns:a16="http://schemas.microsoft.com/office/drawing/2014/main" id="{2AF0CA33-BBE3-4B91-9FAE-B904C1FA83B8}"/>
              </a:ext>
            </a:extLst>
          </p:cNvPr>
          <p:cNvSpPr txBox="1"/>
          <p:nvPr userDrawn="1"/>
        </p:nvSpPr>
        <p:spPr>
          <a:xfrm flipH="1">
            <a:off x="8273824" y="1749325"/>
            <a:ext cx="3502769" cy="584775"/>
          </a:xfrm>
          <a:prstGeom prst="rect">
            <a:avLst/>
          </a:prstGeom>
          <a:noFill/>
        </p:spPr>
        <p:txBody>
          <a:bodyPr wrap="square" rtlCol="0">
            <a:spAutoFit/>
          </a:bodyPr>
          <a:lstStyle/>
          <a:p>
            <a:r>
              <a:rPr lang="nl-NL" sz="1600" b="1">
                <a:solidFill>
                  <a:schemeClr val="accent4">
                    <a:lumMod val="75000"/>
                  </a:schemeClr>
                </a:solidFill>
                <a:latin typeface="Ink Free" panose="03080402000500000000" pitchFamily="66" charset="0"/>
              </a:rPr>
              <a:t>How do you think this learning will be useful for you in the future?</a:t>
            </a:r>
          </a:p>
        </p:txBody>
      </p:sp>
      <p:sp>
        <p:nvSpPr>
          <p:cNvPr id="56" name="Rectangle: Rounded Corners 55">
            <a:extLst>
              <a:ext uri="{FF2B5EF4-FFF2-40B4-BE49-F238E27FC236}">
                <a16:creationId xmlns:a16="http://schemas.microsoft.com/office/drawing/2014/main" id="{22D6ED94-01B1-4EA3-A18D-BF7375C8FBE1}"/>
              </a:ext>
            </a:extLst>
          </p:cNvPr>
          <p:cNvSpPr/>
          <p:nvPr userDrawn="1"/>
        </p:nvSpPr>
        <p:spPr>
          <a:xfrm>
            <a:off x="8282161" y="1489653"/>
            <a:ext cx="1365699" cy="239934"/>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10" name="Google Shape;300;p37">
            <a:extLst>
              <a:ext uri="{FF2B5EF4-FFF2-40B4-BE49-F238E27FC236}">
                <a16:creationId xmlns:a16="http://schemas.microsoft.com/office/drawing/2014/main" id="{CE3E6607-FC55-40FA-A765-40FE8C944B46}"/>
              </a:ext>
            </a:extLst>
          </p:cNvPr>
          <p:cNvGrpSpPr/>
          <p:nvPr userDrawn="1"/>
        </p:nvGrpSpPr>
        <p:grpSpPr>
          <a:xfrm>
            <a:off x="10923183" y="5555438"/>
            <a:ext cx="840105" cy="880745"/>
            <a:chOff x="0" y="0"/>
            <a:chExt cx="1060600" cy="1114925"/>
          </a:xfrm>
        </p:grpSpPr>
        <p:sp>
          <p:nvSpPr>
            <p:cNvPr id="111" name="Google Shape;301;p37">
              <a:extLst>
                <a:ext uri="{FF2B5EF4-FFF2-40B4-BE49-F238E27FC236}">
                  <a16:creationId xmlns:a16="http://schemas.microsoft.com/office/drawing/2014/main" id="{9CBB221F-6297-48D9-A883-BCC6E06996E5}"/>
                </a:ext>
              </a:extLst>
            </p:cNvPr>
            <p:cNvSpPr/>
            <p:nvPr userDrawn="1"/>
          </p:nvSpPr>
          <p:spPr>
            <a:xfrm>
              <a:off x="209900" y="223025"/>
              <a:ext cx="850700" cy="891900"/>
            </a:xfrm>
            <a:custGeom>
              <a:avLst/>
              <a:gdLst/>
              <a:ahLst/>
              <a:cxnLst/>
              <a:rect l="l" t="t" r="r" b="b"/>
              <a:pathLst>
                <a:path w="34028" h="35676" extrusionOk="0">
                  <a:moveTo>
                    <a:pt x="7050" y="3261"/>
                  </a:moveTo>
                  <a:cubicBezTo>
                    <a:pt x="5550" y="4510"/>
                    <a:pt x="4275" y="6086"/>
                    <a:pt x="3456" y="7646"/>
                  </a:cubicBezTo>
                  <a:cubicBezTo>
                    <a:pt x="1581" y="11215"/>
                    <a:pt x="2769" y="16037"/>
                    <a:pt x="5426" y="19346"/>
                  </a:cubicBezTo>
                  <a:cubicBezTo>
                    <a:pt x="5373" y="19294"/>
                    <a:pt x="5318" y="19243"/>
                    <a:pt x="5266" y="19190"/>
                  </a:cubicBezTo>
                  <a:cubicBezTo>
                    <a:pt x="3529" y="17393"/>
                    <a:pt x="2597" y="14904"/>
                    <a:pt x="2490" y="12427"/>
                  </a:cubicBezTo>
                  <a:cubicBezTo>
                    <a:pt x="2328" y="8626"/>
                    <a:pt x="4066" y="5198"/>
                    <a:pt x="7050" y="3261"/>
                  </a:cubicBezTo>
                  <a:close/>
                  <a:moveTo>
                    <a:pt x="12872" y="1594"/>
                  </a:moveTo>
                  <a:cubicBezTo>
                    <a:pt x="17362" y="1594"/>
                    <a:pt x="21289" y="4320"/>
                    <a:pt x="23215" y="8558"/>
                  </a:cubicBezTo>
                  <a:cubicBezTo>
                    <a:pt x="24531" y="11450"/>
                    <a:pt x="24911" y="14570"/>
                    <a:pt x="25312" y="17686"/>
                  </a:cubicBezTo>
                  <a:cubicBezTo>
                    <a:pt x="25632" y="20187"/>
                    <a:pt x="26126" y="22619"/>
                    <a:pt x="27636" y="24638"/>
                  </a:cubicBezTo>
                  <a:cubicBezTo>
                    <a:pt x="27210" y="25057"/>
                    <a:pt x="26813" y="25609"/>
                    <a:pt x="26440" y="26086"/>
                  </a:cubicBezTo>
                  <a:cubicBezTo>
                    <a:pt x="24902" y="23863"/>
                    <a:pt x="23078" y="21809"/>
                    <a:pt x="21412" y="19679"/>
                  </a:cubicBezTo>
                  <a:cubicBezTo>
                    <a:pt x="19699" y="17487"/>
                    <a:pt x="18109" y="14675"/>
                    <a:pt x="15926" y="12927"/>
                  </a:cubicBezTo>
                  <a:cubicBezTo>
                    <a:pt x="15858" y="12873"/>
                    <a:pt x="15784" y="12849"/>
                    <a:pt x="15714" y="12849"/>
                  </a:cubicBezTo>
                  <a:cubicBezTo>
                    <a:pt x="15506" y="12849"/>
                    <a:pt x="15331" y="13055"/>
                    <a:pt x="15448" y="13295"/>
                  </a:cubicBezTo>
                  <a:cubicBezTo>
                    <a:pt x="16616" y="15684"/>
                    <a:pt x="18827" y="17675"/>
                    <a:pt x="20505" y="19712"/>
                  </a:cubicBezTo>
                  <a:cubicBezTo>
                    <a:pt x="22338" y="21940"/>
                    <a:pt x="24054" y="24326"/>
                    <a:pt x="26013" y="26442"/>
                  </a:cubicBezTo>
                  <a:cubicBezTo>
                    <a:pt x="26037" y="26468"/>
                    <a:pt x="26065" y="26488"/>
                    <a:pt x="26097" y="26503"/>
                  </a:cubicBezTo>
                  <a:lnTo>
                    <a:pt x="26096" y="26504"/>
                  </a:lnTo>
                  <a:cubicBezTo>
                    <a:pt x="25736" y="26915"/>
                    <a:pt x="25293" y="27348"/>
                    <a:pt x="24854" y="27802"/>
                  </a:cubicBezTo>
                  <a:cubicBezTo>
                    <a:pt x="24840" y="27734"/>
                    <a:pt x="24803" y="27675"/>
                    <a:pt x="24747" y="27632"/>
                  </a:cubicBezTo>
                  <a:cubicBezTo>
                    <a:pt x="23632" y="26743"/>
                    <a:pt x="22473" y="25958"/>
                    <a:pt x="21485" y="24915"/>
                  </a:cubicBezTo>
                  <a:cubicBezTo>
                    <a:pt x="20557" y="23934"/>
                    <a:pt x="19757" y="22841"/>
                    <a:pt x="18913" y="21790"/>
                  </a:cubicBezTo>
                  <a:cubicBezTo>
                    <a:pt x="17213" y="19678"/>
                    <a:pt x="15464" y="17264"/>
                    <a:pt x="13199" y="15723"/>
                  </a:cubicBezTo>
                  <a:cubicBezTo>
                    <a:pt x="13148" y="15688"/>
                    <a:pt x="13091" y="15673"/>
                    <a:pt x="13036" y="15673"/>
                  </a:cubicBezTo>
                  <a:cubicBezTo>
                    <a:pt x="12787" y="15673"/>
                    <a:pt x="12543" y="15976"/>
                    <a:pt x="12717" y="16206"/>
                  </a:cubicBezTo>
                  <a:cubicBezTo>
                    <a:pt x="14441" y="18486"/>
                    <a:pt x="16715" y="20352"/>
                    <a:pt x="18522" y="22581"/>
                  </a:cubicBezTo>
                  <a:cubicBezTo>
                    <a:pt x="20195" y="24645"/>
                    <a:pt x="21902" y="26941"/>
                    <a:pt x="24320" y="28186"/>
                  </a:cubicBezTo>
                  <a:cubicBezTo>
                    <a:pt x="24364" y="28208"/>
                    <a:pt x="24412" y="28221"/>
                    <a:pt x="24461" y="28221"/>
                  </a:cubicBezTo>
                  <a:cubicBezTo>
                    <a:pt x="24065" y="28658"/>
                    <a:pt x="23695" y="29112"/>
                    <a:pt x="23428" y="29587"/>
                  </a:cubicBezTo>
                  <a:cubicBezTo>
                    <a:pt x="21392" y="26023"/>
                    <a:pt x="16324" y="24531"/>
                    <a:pt x="12758" y="23278"/>
                  </a:cubicBezTo>
                  <a:cubicBezTo>
                    <a:pt x="11285" y="22760"/>
                    <a:pt x="9776" y="22205"/>
                    <a:pt x="8379" y="21462"/>
                  </a:cubicBezTo>
                  <a:cubicBezTo>
                    <a:pt x="4075" y="18540"/>
                    <a:pt x="1276" y="12017"/>
                    <a:pt x="4103" y="7401"/>
                  </a:cubicBezTo>
                  <a:cubicBezTo>
                    <a:pt x="5380" y="5314"/>
                    <a:pt x="7446" y="3169"/>
                    <a:pt x="9759" y="2031"/>
                  </a:cubicBezTo>
                  <a:cubicBezTo>
                    <a:pt x="10018" y="1957"/>
                    <a:pt x="10281" y="1890"/>
                    <a:pt x="10551" y="1834"/>
                  </a:cubicBezTo>
                  <a:cubicBezTo>
                    <a:pt x="11336" y="1672"/>
                    <a:pt x="12112" y="1594"/>
                    <a:pt x="12872" y="1594"/>
                  </a:cubicBezTo>
                  <a:close/>
                  <a:moveTo>
                    <a:pt x="29133" y="26040"/>
                  </a:moveTo>
                  <a:cubicBezTo>
                    <a:pt x="29564" y="26323"/>
                    <a:pt x="29961" y="26654"/>
                    <a:pt x="30318" y="27026"/>
                  </a:cubicBezTo>
                  <a:cubicBezTo>
                    <a:pt x="29283" y="27507"/>
                    <a:pt x="28326" y="28252"/>
                    <a:pt x="27387" y="28869"/>
                  </a:cubicBezTo>
                  <a:cubicBezTo>
                    <a:pt x="26859" y="29217"/>
                    <a:pt x="26292" y="29555"/>
                    <a:pt x="25748" y="29924"/>
                  </a:cubicBezTo>
                  <a:cubicBezTo>
                    <a:pt x="26169" y="29433"/>
                    <a:pt x="26578" y="28931"/>
                    <a:pt x="26993" y="28463"/>
                  </a:cubicBezTo>
                  <a:cubicBezTo>
                    <a:pt x="27709" y="27658"/>
                    <a:pt x="28423" y="26849"/>
                    <a:pt x="29133" y="26040"/>
                  </a:cubicBezTo>
                  <a:close/>
                  <a:moveTo>
                    <a:pt x="28241" y="25335"/>
                  </a:moveTo>
                  <a:cubicBezTo>
                    <a:pt x="28315" y="25383"/>
                    <a:pt x="28401" y="25413"/>
                    <a:pt x="28490" y="25419"/>
                  </a:cubicBezTo>
                  <a:cubicBezTo>
                    <a:pt x="28464" y="25502"/>
                    <a:pt x="28470" y="25592"/>
                    <a:pt x="28527" y="25664"/>
                  </a:cubicBezTo>
                  <a:cubicBezTo>
                    <a:pt x="27790" y="26500"/>
                    <a:pt x="27057" y="27339"/>
                    <a:pt x="26325" y="28180"/>
                  </a:cubicBezTo>
                  <a:cubicBezTo>
                    <a:pt x="25623" y="28987"/>
                    <a:pt x="24828" y="29774"/>
                    <a:pt x="24179" y="30643"/>
                  </a:cubicBezTo>
                  <a:cubicBezTo>
                    <a:pt x="24054" y="30542"/>
                    <a:pt x="23927" y="30447"/>
                    <a:pt x="23798" y="30352"/>
                  </a:cubicBezTo>
                  <a:lnTo>
                    <a:pt x="23797" y="30352"/>
                  </a:lnTo>
                  <a:cubicBezTo>
                    <a:pt x="23778" y="30306"/>
                    <a:pt x="23761" y="30258"/>
                    <a:pt x="23740" y="30212"/>
                  </a:cubicBezTo>
                  <a:cubicBezTo>
                    <a:pt x="24654" y="29614"/>
                    <a:pt x="25367" y="28535"/>
                    <a:pt x="26069" y="27753"/>
                  </a:cubicBezTo>
                  <a:lnTo>
                    <a:pt x="27428" y="26241"/>
                  </a:lnTo>
                  <a:cubicBezTo>
                    <a:pt x="27630" y="26017"/>
                    <a:pt x="27830" y="25793"/>
                    <a:pt x="28032" y="25569"/>
                  </a:cubicBezTo>
                  <a:cubicBezTo>
                    <a:pt x="28101" y="25491"/>
                    <a:pt x="28172" y="25413"/>
                    <a:pt x="28241" y="25335"/>
                  </a:cubicBezTo>
                  <a:close/>
                  <a:moveTo>
                    <a:pt x="30826" y="27651"/>
                  </a:moveTo>
                  <a:cubicBezTo>
                    <a:pt x="30961" y="27858"/>
                    <a:pt x="31094" y="28068"/>
                    <a:pt x="31226" y="28280"/>
                  </a:cubicBezTo>
                  <a:cubicBezTo>
                    <a:pt x="30178" y="28962"/>
                    <a:pt x="29152" y="29677"/>
                    <a:pt x="28117" y="30379"/>
                  </a:cubicBezTo>
                  <a:cubicBezTo>
                    <a:pt x="27342" y="30905"/>
                    <a:pt x="26523" y="31406"/>
                    <a:pt x="25798" y="32010"/>
                  </a:cubicBezTo>
                  <a:cubicBezTo>
                    <a:pt x="25513" y="31764"/>
                    <a:pt x="25227" y="31514"/>
                    <a:pt x="24937" y="31265"/>
                  </a:cubicBezTo>
                  <a:cubicBezTo>
                    <a:pt x="25953" y="30849"/>
                    <a:pt x="26898" y="30175"/>
                    <a:pt x="27818" y="29608"/>
                  </a:cubicBezTo>
                  <a:cubicBezTo>
                    <a:pt x="28809" y="28997"/>
                    <a:pt x="29939" y="28426"/>
                    <a:pt x="30826" y="27651"/>
                  </a:cubicBezTo>
                  <a:close/>
                  <a:moveTo>
                    <a:pt x="31618" y="29042"/>
                  </a:moveTo>
                  <a:cubicBezTo>
                    <a:pt x="31638" y="29052"/>
                    <a:pt x="31652" y="29066"/>
                    <a:pt x="31674" y="29073"/>
                  </a:cubicBezTo>
                  <a:lnTo>
                    <a:pt x="31696" y="29078"/>
                  </a:lnTo>
                  <a:cubicBezTo>
                    <a:pt x="31983" y="29745"/>
                    <a:pt x="32137" y="30443"/>
                    <a:pt x="32111" y="31120"/>
                  </a:cubicBezTo>
                  <a:cubicBezTo>
                    <a:pt x="31133" y="31435"/>
                    <a:pt x="30224" y="31985"/>
                    <a:pt x="29308" y="32447"/>
                  </a:cubicBezTo>
                  <a:cubicBezTo>
                    <a:pt x="28689" y="32760"/>
                    <a:pt x="28039" y="33048"/>
                    <a:pt x="27443" y="33412"/>
                  </a:cubicBezTo>
                  <a:cubicBezTo>
                    <a:pt x="27080" y="33118"/>
                    <a:pt x="26731" y="32805"/>
                    <a:pt x="26382" y="32506"/>
                  </a:cubicBezTo>
                  <a:lnTo>
                    <a:pt x="26381" y="32505"/>
                  </a:lnTo>
                  <a:cubicBezTo>
                    <a:pt x="27135" y="32098"/>
                    <a:pt x="27845" y="31602"/>
                    <a:pt x="28563" y="31140"/>
                  </a:cubicBezTo>
                  <a:lnTo>
                    <a:pt x="30290" y="30028"/>
                  </a:lnTo>
                  <a:lnTo>
                    <a:pt x="31154" y="29471"/>
                  </a:lnTo>
                  <a:cubicBezTo>
                    <a:pt x="31460" y="29395"/>
                    <a:pt x="31612" y="29252"/>
                    <a:pt x="31618" y="29042"/>
                  </a:cubicBezTo>
                  <a:close/>
                  <a:moveTo>
                    <a:pt x="31974" y="31968"/>
                  </a:moveTo>
                  <a:lnTo>
                    <a:pt x="31974" y="31968"/>
                  </a:lnTo>
                  <a:cubicBezTo>
                    <a:pt x="31753" y="32724"/>
                    <a:pt x="31259" y="33426"/>
                    <a:pt x="30408" y="33994"/>
                  </a:cubicBezTo>
                  <a:lnTo>
                    <a:pt x="30407" y="33994"/>
                  </a:lnTo>
                  <a:cubicBezTo>
                    <a:pt x="30206" y="34129"/>
                    <a:pt x="30130" y="34322"/>
                    <a:pt x="30138" y="34510"/>
                  </a:cubicBezTo>
                  <a:cubicBezTo>
                    <a:pt x="30126" y="34519"/>
                    <a:pt x="30113" y="34524"/>
                    <a:pt x="30101" y="34531"/>
                  </a:cubicBezTo>
                  <a:cubicBezTo>
                    <a:pt x="30027" y="34539"/>
                    <a:pt x="29951" y="34542"/>
                    <a:pt x="29875" y="34542"/>
                  </a:cubicBezTo>
                  <a:cubicBezTo>
                    <a:pt x="29405" y="34542"/>
                    <a:pt x="28908" y="34400"/>
                    <a:pt x="28479" y="34150"/>
                  </a:cubicBezTo>
                  <a:cubicBezTo>
                    <a:pt x="28329" y="34062"/>
                    <a:pt x="28182" y="33964"/>
                    <a:pt x="28037" y="33864"/>
                  </a:cubicBezTo>
                  <a:cubicBezTo>
                    <a:pt x="28528" y="33651"/>
                    <a:pt x="29005" y="33399"/>
                    <a:pt x="29482" y="33172"/>
                  </a:cubicBezTo>
                  <a:cubicBezTo>
                    <a:pt x="30302" y="32784"/>
                    <a:pt x="31186" y="32436"/>
                    <a:pt x="31974" y="31968"/>
                  </a:cubicBezTo>
                  <a:close/>
                  <a:moveTo>
                    <a:pt x="12895" y="1"/>
                  </a:moveTo>
                  <a:cubicBezTo>
                    <a:pt x="12461" y="1"/>
                    <a:pt x="12022" y="23"/>
                    <a:pt x="11577" y="68"/>
                  </a:cubicBezTo>
                  <a:cubicBezTo>
                    <a:pt x="6648" y="567"/>
                    <a:pt x="2492" y="3825"/>
                    <a:pt x="1243" y="8687"/>
                  </a:cubicBezTo>
                  <a:cubicBezTo>
                    <a:pt x="0" y="13524"/>
                    <a:pt x="1648" y="18791"/>
                    <a:pt x="5726" y="21751"/>
                  </a:cubicBezTo>
                  <a:cubicBezTo>
                    <a:pt x="8537" y="23793"/>
                    <a:pt x="11959" y="24684"/>
                    <a:pt x="15175" y="25869"/>
                  </a:cubicBezTo>
                  <a:cubicBezTo>
                    <a:pt x="18563" y="27118"/>
                    <a:pt x="21162" y="28844"/>
                    <a:pt x="23541" y="31551"/>
                  </a:cubicBezTo>
                  <a:cubicBezTo>
                    <a:pt x="23593" y="31612"/>
                    <a:pt x="23668" y="31649"/>
                    <a:pt x="23749" y="31651"/>
                  </a:cubicBezTo>
                  <a:cubicBezTo>
                    <a:pt x="23773" y="31666"/>
                    <a:pt x="23801" y="31677"/>
                    <a:pt x="23829" y="31683"/>
                  </a:cubicBezTo>
                  <a:cubicBezTo>
                    <a:pt x="25011" y="33438"/>
                    <a:pt x="27308" y="35675"/>
                    <a:pt x="29358" y="35675"/>
                  </a:cubicBezTo>
                  <a:cubicBezTo>
                    <a:pt x="29938" y="35675"/>
                    <a:pt x="30499" y="35496"/>
                    <a:pt x="31008" y="35077"/>
                  </a:cubicBezTo>
                  <a:cubicBezTo>
                    <a:pt x="31069" y="35053"/>
                    <a:pt x="31125" y="35026"/>
                    <a:pt x="31181" y="34999"/>
                  </a:cubicBezTo>
                  <a:cubicBezTo>
                    <a:pt x="31335" y="35056"/>
                    <a:pt x="31499" y="35085"/>
                    <a:pt x="31664" y="35085"/>
                  </a:cubicBezTo>
                  <a:cubicBezTo>
                    <a:pt x="31927" y="35085"/>
                    <a:pt x="32189" y="35011"/>
                    <a:pt x="32405" y="34855"/>
                  </a:cubicBezTo>
                  <a:cubicBezTo>
                    <a:pt x="32740" y="34614"/>
                    <a:pt x="32909" y="34198"/>
                    <a:pt x="32910" y="33794"/>
                  </a:cubicBezTo>
                  <a:cubicBezTo>
                    <a:pt x="32912" y="33593"/>
                    <a:pt x="32865" y="33350"/>
                    <a:pt x="32759" y="33155"/>
                  </a:cubicBezTo>
                  <a:cubicBezTo>
                    <a:pt x="34028" y="30698"/>
                    <a:pt x="32829" y="27368"/>
                    <a:pt x="30389" y="25854"/>
                  </a:cubicBezTo>
                  <a:cubicBezTo>
                    <a:pt x="30210" y="25648"/>
                    <a:pt x="30019" y="25444"/>
                    <a:pt x="29815" y="25267"/>
                  </a:cubicBezTo>
                  <a:lnTo>
                    <a:pt x="29866" y="25210"/>
                  </a:lnTo>
                  <a:cubicBezTo>
                    <a:pt x="30035" y="25017"/>
                    <a:pt x="29982" y="24685"/>
                    <a:pt x="29709" y="24617"/>
                  </a:cubicBezTo>
                  <a:cubicBezTo>
                    <a:pt x="29506" y="24583"/>
                    <a:pt x="29308" y="24519"/>
                    <a:pt x="29126" y="24422"/>
                  </a:cubicBezTo>
                  <a:cubicBezTo>
                    <a:pt x="29100" y="24374"/>
                    <a:pt x="29068" y="24328"/>
                    <a:pt x="29032" y="24288"/>
                  </a:cubicBezTo>
                  <a:cubicBezTo>
                    <a:pt x="26794" y="21773"/>
                    <a:pt x="26734" y="18263"/>
                    <a:pt x="26291" y="15100"/>
                  </a:cubicBezTo>
                  <a:cubicBezTo>
                    <a:pt x="25902" y="12320"/>
                    <a:pt x="25246" y="9526"/>
                    <a:pt x="23961" y="7013"/>
                  </a:cubicBezTo>
                  <a:cubicBezTo>
                    <a:pt x="21748" y="2690"/>
                    <a:pt x="17675" y="1"/>
                    <a:pt x="1289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2" name="Google Shape;302;p37">
              <a:extLst>
                <a:ext uri="{FF2B5EF4-FFF2-40B4-BE49-F238E27FC236}">
                  <a16:creationId xmlns:a16="http://schemas.microsoft.com/office/drawing/2014/main" id="{0B1B3005-D22D-4E6A-8FAE-8B3C089D8F15}"/>
                </a:ext>
              </a:extLst>
            </p:cNvPr>
            <p:cNvSpPr/>
            <p:nvPr userDrawn="1"/>
          </p:nvSpPr>
          <p:spPr>
            <a:xfrm>
              <a:off x="885550" y="329200"/>
              <a:ext cx="105300" cy="69600"/>
            </a:xfrm>
            <a:custGeom>
              <a:avLst/>
              <a:gdLst/>
              <a:ahLst/>
              <a:cxnLst/>
              <a:rect l="l" t="t" r="r" b="b"/>
              <a:pathLst>
                <a:path w="4212" h="2784" extrusionOk="0">
                  <a:moveTo>
                    <a:pt x="3482" y="0"/>
                  </a:moveTo>
                  <a:cubicBezTo>
                    <a:pt x="2939" y="0"/>
                    <a:pt x="2396" y="490"/>
                    <a:pt x="1954" y="759"/>
                  </a:cubicBezTo>
                  <a:cubicBezTo>
                    <a:pt x="1329" y="1139"/>
                    <a:pt x="695" y="1545"/>
                    <a:pt x="234" y="2122"/>
                  </a:cubicBezTo>
                  <a:cubicBezTo>
                    <a:pt x="0" y="2412"/>
                    <a:pt x="185" y="2783"/>
                    <a:pt x="532" y="2783"/>
                  </a:cubicBezTo>
                  <a:cubicBezTo>
                    <a:pt x="559" y="2783"/>
                    <a:pt x="586" y="2781"/>
                    <a:pt x="615" y="2776"/>
                  </a:cubicBezTo>
                  <a:cubicBezTo>
                    <a:pt x="1386" y="2652"/>
                    <a:pt x="2084" y="2269"/>
                    <a:pt x="2756" y="1890"/>
                  </a:cubicBezTo>
                  <a:cubicBezTo>
                    <a:pt x="3380" y="1539"/>
                    <a:pt x="4085" y="1332"/>
                    <a:pt x="4181" y="556"/>
                  </a:cubicBezTo>
                  <a:cubicBezTo>
                    <a:pt x="4211" y="317"/>
                    <a:pt x="3998" y="143"/>
                    <a:pt x="3808" y="65"/>
                  </a:cubicBezTo>
                  <a:cubicBezTo>
                    <a:pt x="3700" y="20"/>
                    <a:pt x="3591" y="0"/>
                    <a:pt x="348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3" name="Google Shape;303;p37">
              <a:extLst>
                <a:ext uri="{FF2B5EF4-FFF2-40B4-BE49-F238E27FC236}">
                  <a16:creationId xmlns:a16="http://schemas.microsoft.com/office/drawing/2014/main" id="{673753D7-EF20-4AE0-9A49-632F7028FE46}"/>
                </a:ext>
              </a:extLst>
            </p:cNvPr>
            <p:cNvSpPr/>
            <p:nvPr userDrawn="1"/>
          </p:nvSpPr>
          <p:spPr>
            <a:xfrm>
              <a:off x="746825" y="154100"/>
              <a:ext cx="86325" cy="85700"/>
            </a:xfrm>
            <a:custGeom>
              <a:avLst/>
              <a:gdLst/>
              <a:ahLst/>
              <a:cxnLst/>
              <a:rect l="l" t="t" r="r" b="b"/>
              <a:pathLst>
                <a:path w="3453" h="3428" extrusionOk="0">
                  <a:moveTo>
                    <a:pt x="2611" y="1"/>
                  </a:moveTo>
                  <a:cubicBezTo>
                    <a:pt x="1961" y="1"/>
                    <a:pt x="1579" y="599"/>
                    <a:pt x="1173" y="1082"/>
                  </a:cubicBezTo>
                  <a:cubicBezTo>
                    <a:pt x="755" y="1577"/>
                    <a:pt x="213" y="2115"/>
                    <a:pt x="67" y="2763"/>
                  </a:cubicBezTo>
                  <a:cubicBezTo>
                    <a:pt x="0" y="3057"/>
                    <a:pt x="228" y="3428"/>
                    <a:pt x="540" y="3428"/>
                  </a:cubicBezTo>
                  <a:cubicBezTo>
                    <a:pt x="591" y="3428"/>
                    <a:pt x="645" y="3418"/>
                    <a:pt x="700" y="3395"/>
                  </a:cubicBezTo>
                  <a:cubicBezTo>
                    <a:pt x="1327" y="3145"/>
                    <a:pt x="1768" y="2617"/>
                    <a:pt x="2258" y="2168"/>
                  </a:cubicBezTo>
                  <a:cubicBezTo>
                    <a:pt x="2801" y="1672"/>
                    <a:pt x="3452" y="1318"/>
                    <a:pt x="3319" y="483"/>
                  </a:cubicBezTo>
                  <a:cubicBezTo>
                    <a:pt x="3285" y="276"/>
                    <a:pt x="3064" y="73"/>
                    <a:pt x="2863" y="29"/>
                  </a:cubicBezTo>
                  <a:cubicBezTo>
                    <a:pt x="2775" y="10"/>
                    <a:pt x="2691" y="1"/>
                    <a:pt x="261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4" name="Google Shape;304;p37">
              <a:extLst>
                <a:ext uri="{FF2B5EF4-FFF2-40B4-BE49-F238E27FC236}">
                  <a16:creationId xmlns:a16="http://schemas.microsoft.com/office/drawing/2014/main" id="{5C615259-F451-4473-A584-3CCFCB935B5E}"/>
                </a:ext>
              </a:extLst>
            </p:cNvPr>
            <p:cNvSpPr/>
            <p:nvPr userDrawn="1"/>
          </p:nvSpPr>
          <p:spPr>
            <a:xfrm>
              <a:off x="515825" y="0"/>
              <a:ext cx="54050" cy="112525"/>
            </a:xfrm>
            <a:custGeom>
              <a:avLst/>
              <a:gdLst/>
              <a:ahLst/>
              <a:cxnLst/>
              <a:rect l="l" t="t" r="r" b="b"/>
              <a:pathLst>
                <a:path w="2162" h="4501" extrusionOk="0">
                  <a:moveTo>
                    <a:pt x="1045" y="1"/>
                  </a:moveTo>
                  <a:cubicBezTo>
                    <a:pt x="625" y="1"/>
                    <a:pt x="229" y="224"/>
                    <a:pt x="162" y="722"/>
                  </a:cubicBezTo>
                  <a:cubicBezTo>
                    <a:pt x="24" y="1733"/>
                    <a:pt x="1" y="2910"/>
                    <a:pt x="339" y="3886"/>
                  </a:cubicBezTo>
                  <a:cubicBezTo>
                    <a:pt x="484" y="4307"/>
                    <a:pt x="817" y="4501"/>
                    <a:pt x="1151" y="4501"/>
                  </a:cubicBezTo>
                  <a:cubicBezTo>
                    <a:pt x="1570" y="4501"/>
                    <a:pt x="1989" y="4197"/>
                    <a:pt x="2040" y="3656"/>
                  </a:cubicBezTo>
                  <a:cubicBezTo>
                    <a:pt x="2122" y="2782"/>
                    <a:pt x="2101" y="1869"/>
                    <a:pt x="2137" y="988"/>
                  </a:cubicBezTo>
                  <a:cubicBezTo>
                    <a:pt x="2161" y="367"/>
                    <a:pt x="1584" y="1"/>
                    <a:pt x="104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5" name="Google Shape;305;p37">
              <a:extLst>
                <a:ext uri="{FF2B5EF4-FFF2-40B4-BE49-F238E27FC236}">
                  <a16:creationId xmlns:a16="http://schemas.microsoft.com/office/drawing/2014/main" id="{D2535FE0-98DB-4BDF-ABC8-6DFBEA5488A6}"/>
                </a:ext>
              </a:extLst>
            </p:cNvPr>
            <p:cNvSpPr/>
            <p:nvPr userDrawn="1"/>
          </p:nvSpPr>
          <p:spPr>
            <a:xfrm>
              <a:off x="221425" y="79675"/>
              <a:ext cx="97125" cy="109750"/>
            </a:xfrm>
            <a:custGeom>
              <a:avLst/>
              <a:gdLst/>
              <a:ahLst/>
              <a:cxnLst/>
              <a:rect l="l" t="t" r="r" b="b"/>
              <a:pathLst>
                <a:path w="3885" h="4390" extrusionOk="0">
                  <a:moveTo>
                    <a:pt x="1207" y="0"/>
                  </a:moveTo>
                  <a:cubicBezTo>
                    <a:pt x="598" y="0"/>
                    <a:pt x="1" y="458"/>
                    <a:pt x="257" y="1181"/>
                  </a:cubicBezTo>
                  <a:cubicBezTo>
                    <a:pt x="513" y="1899"/>
                    <a:pt x="1101" y="2464"/>
                    <a:pt x="1573" y="3055"/>
                  </a:cubicBezTo>
                  <a:cubicBezTo>
                    <a:pt x="1980" y="3567"/>
                    <a:pt x="2454" y="4230"/>
                    <a:pt x="3130" y="4375"/>
                  </a:cubicBezTo>
                  <a:cubicBezTo>
                    <a:pt x="3177" y="4385"/>
                    <a:pt x="3223" y="4390"/>
                    <a:pt x="3267" y="4390"/>
                  </a:cubicBezTo>
                  <a:cubicBezTo>
                    <a:pt x="3562" y="4390"/>
                    <a:pt x="3760" y="4170"/>
                    <a:pt x="3799" y="3864"/>
                  </a:cubicBezTo>
                  <a:cubicBezTo>
                    <a:pt x="3885" y="3209"/>
                    <a:pt x="3428" y="2551"/>
                    <a:pt x="3102" y="2015"/>
                  </a:cubicBezTo>
                  <a:cubicBezTo>
                    <a:pt x="2751" y="1436"/>
                    <a:pt x="2414" y="663"/>
                    <a:pt x="1888" y="232"/>
                  </a:cubicBezTo>
                  <a:cubicBezTo>
                    <a:pt x="1695" y="73"/>
                    <a:pt x="1450" y="0"/>
                    <a:pt x="1207"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6" name="Google Shape;306;p37">
              <a:extLst>
                <a:ext uri="{FF2B5EF4-FFF2-40B4-BE49-F238E27FC236}">
                  <a16:creationId xmlns:a16="http://schemas.microsoft.com/office/drawing/2014/main" id="{CD08A068-21FB-43E0-B392-92C70169D551}"/>
                </a:ext>
              </a:extLst>
            </p:cNvPr>
            <p:cNvSpPr/>
            <p:nvPr userDrawn="1"/>
          </p:nvSpPr>
          <p:spPr>
            <a:xfrm>
              <a:off x="92325" y="243050"/>
              <a:ext cx="103675" cy="78150"/>
            </a:xfrm>
            <a:custGeom>
              <a:avLst/>
              <a:gdLst/>
              <a:ahLst/>
              <a:cxnLst/>
              <a:rect l="l" t="t" r="r" b="b"/>
              <a:pathLst>
                <a:path w="4147" h="3126" extrusionOk="0">
                  <a:moveTo>
                    <a:pt x="1220" y="1"/>
                  </a:moveTo>
                  <a:cubicBezTo>
                    <a:pt x="626" y="1"/>
                    <a:pt x="38" y="406"/>
                    <a:pt x="17" y="1053"/>
                  </a:cubicBezTo>
                  <a:cubicBezTo>
                    <a:pt x="1" y="1549"/>
                    <a:pt x="288" y="1961"/>
                    <a:pt x="751" y="2122"/>
                  </a:cubicBezTo>
                  <a:cubicBezTo>
                    <a:pt x="815" y="2145"/>
                    <a:pt x="882" y="2156"/>
                    <a:pt x="948" y="2156"/>
                  </a:cubicBezTo>
                  <a:cubicBezTo>
                    <a:pt x="1042" y="2156"/>
                    <a:pt x="1135" y="2134"/>
                    <a:pt x="1220" y="2089"/>
                  </a:cubicBezTo>
                  <a:cubicBezTo>
                    <a:pt x="1570" y="2266"/>
                    <a:pt x="1904" y="2538"/>
                    <a:pt x="2241" y="2703"/>
                  </a:cubicBezTo>
                  <a:cubicBezTo>
                    <a:pt x="2660" y="2908"/>
                    <a:pt x="3070" y="3126"/>
                    <a:pt x="3523" y="3126"/>
                  </a:cubicBezTo>
                  <a:cubicBezTo>
                    <a:pt x="3622" y="3126"/>
                    <a:pt x="3723" y="3115"/>
                    <a:pt x="3826" y="3092"/>
                  </a:cubicBezTo>
                  <a:cubicBezTo>
                    <a:pt x="3986" y="3056"/>
                    <a:pt x="4147" y="2866"/>
                    <a:pt x="4128" y="2695"/>
                  </a:cubicBezTo>
                  <a:cubicBezTo>
                    <a:pt x="4060" y="2060"/>
                    <a:pt x="3606" y="1605"/>
                    <a:pt x="3154" y="1179"/>
                  </a:cubicBezTo>
                  <a:cubicBezTo>
                    <a:pt x="2707" y="758"/>
                    <a:pt x="2142" y="199"/>
                    <a:pt x="1535" y="40"/>
                  </a:cubicBezTo>
                  <a:cubicBezTo>
                    <a:pt x="1432" y="14"/>
                    <a:pt x="1326" y="1"/>
                    <a:pt x="122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7" name="Google Shape;307;p37">
              <a:extLst>
                <a:ext uri="{FF2B5EF4-FFF2-40B4-BE49-F238E27FC236}">
                  <a16:creationId xmlns:a16="http://schemas.microsoft.com/office/drawing/2014/main" id="{7004FC27-66B6-4C50-A7DD-AED6848D5020}"/>
                </a:ext>
              </a:extLst>
            </p:cNvPr>
            <p:cNvSpPr/>
            <p:nvPr userDrawn="1"/>
          </p:nvSpPr>
          <p:spPr>
            <a:xfrm>
              <a:off x="0" y="517725"/>
              <a:ext cx="119000" cy="52650"/>
            </a:xfrm>
            <a:custGeom>
              <a:avLst/>
              <a:gdLst/>
              <a:ahLst/>
              <a:cxnLst/>
              <a:rect l="l" t="t" r="r" b="b"/>
              <a:pathLst>
                <a:path w="4760" h="2106" extrusionOk="0">
                  <a:moveTo>
                    <a:pt x="1892" y="0"/>
                  </a:moveTo>
                  <a:cubicBezTo>
                    <a:pt x="1362" y="0"/>
                    <a:pt x="847" y="94"/>
                    <a:pt x="440" y="469"/>
                  </a:cubicBezTo>
                  <a:cubicBezTo>
                    <a:pt x="1" y="875"/>
                    <a:pt x="111" y="1671"/>
                    <a:pt x="632" y="1953"/>
                  </a:cubicBezTo>
                  <a:cubicBezTo>
                    <a:pt x="740" y="2013"/>
                    <a:pt x="856" y="2058"/>
                    <a:pt x="976" y="2087"/>
                  </a:cubicBezTo>
                  <a:cubicBezTo>
                    <a:pt x="1030" y="2099"/>
                    <a:pt x="1087" y="2105"/>
                    <a:pt x="1144" y="2105"/>
                  </a:cubicBezTo>
                  <a:cubicBezTo>
                    <a:pt x="1335" y="2105"/>
                    <a:pt x="1535" y="2038"/>
                    <a:pt x="1690" y="1919"/>
                  </a:cubicBezTo>
                  <a:cubicBezTo>
                    <a:pt x="1885" y="1862"/>
                    <a:pt x="2126" y="1848"/>
                    <a:pt x="2361" y="1848"/>
                  </a:cubicBezTo>
                  <a:cubicBezTo>
                    <a:pt x="2570" y="1848"/>
                    <a:pt x="2774" y="1859"/>
                    <a:pt x="2935" y="1860"/>
                  </a:cubicBezTo>
                  <a:cubicBezTo>
                    <a:pt x="2975" y="1860"/>
                    <a:pt x="3014" y="1860"/>
                    <a:pt x="3053" y="1860"/>
                  </a:cubicBezTo>
                  <a:cubicBezTo>
                    <a:pt x="3549" y="1860"/>
                    <a:pt x="3976" y="1832"/>
                    <a:pt x="4440" y="1595"/>
                  </a:cubicBezTo>
                  <a:cubicBezTo>
                    <a:pt x="4759" y="1434"/>
                    <a:pt x="4743" y="1025"/>
                    <a:pt x="4545" y="787"/>
                  </a:cubicBezTo>
                  <a:cubicBezTo>
                    <a:pt x="4041" y="187"/>
                    <a:pt x="3299" y="100"/>
                    <a:pt x="2558" y="36"/>
                  </a:cubicBezTo>
                  <a:cubicBezTo>
                    <a:pt x="2338" y="17"/>
                    <a:pt x="2113" y="0"/>
                    <a:pt x="1892"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8" name="Google Shape;308;p37">
              <a:extLst>
                <a:ext uri="{FF2B5EF4-FFF2-40B4-BE49-F238E27FC236}">
                  <a16:creationId xmlns:a16="http://schemas.microsoft.com/office/drawing/2014/main" id="{3F1D5CC3-C0EB-46E4-B417-800EDC8B8E14}"/>
                </a:ext>
              </a:extLst>
            </p:cNvPr>
            <p:cNvSpPr/>
            <p:nvPr userDrawn="1"/>
          </p:nvSpPr>
          <p:spPr>
            <a:xfrm>
              <a:off x="130675" y="712100"/>
              <a:ext cx="98775" cy="64475"/>
            </a:xfrm>
            <a:custGeom>
              <a:avLst/>
              <a:gdLst/>
              <a:ahLst/>
              <a:cxnLst/>
              <a:rect l="l" t="t" r="r" b="b"/>
              <a:pathLst>
                <a:path w="3951" h="2579" extrusionOk="0">
                  <a:moveTo>
                    <a:pt x="2812" y="1"/>
                  </a:moveTo>
                  <a:cubicBezTo>
                    <a:pt x="1894" y="1"/>
                    <a:pt x="657" y="799"/>
                    <a:pt x="321" y="1329"/>
                  </a:cubicBezTo>
                  <a:cubicBezTo>
                    <a:pt x="0" y="1834"/>
                    <a:pt x="437" y="2578"/>
                    <a:pt x="1007" y="2578"/>
                  </a:cubicBezTo>
                  <a:cubicBezTo>
                    <a:pt x="1086" y="2578"/>
                    <a:pt x="1166" y="2564"/>
                    <a:pt x="1248" y="2534"/>
                  </a:cubicBezTo>
                  <a:cubicBezTo>
                    <a:pt x="1845" y="2311"/>
                    <a:pt x="2377" y="1860"/>
                    <a:pt x="2943" y="1553"/>
                  </a:cubicBezTo>
                  <a:cubicBezTo>
                    <a:pt x="3265" y="1379"/>
                    <a:pt x="3950" y="930"/>
                    <a:pt x="3688" y="462"/>
                  </a:cubicBezTo>
                  <a:cubicBezTo>
                    <a:pt x="3502" y="131"/>
                    <a:pt x="3183" y="1"/>
                    <a:pt x="2812"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19" name="Google Shape;309;p37">
              <a:extLst>
                <a:ext uri="{FF2B5EF4-FFF2-40B4-BE49-F238E27FC236}">
                  <a16:creationId xmlns:a16="http://schemas.microsoft.com/office/drawing/2014/main" id="{D2023F45-D368-45F8-A480-815665BE826D}"/>
                </a:ext>
              </a:extLst>
            </p:cNvPr>
            <p:cNvSpPr/>
            <p:nvPr userDrawn="1"/>
          </p:nvSpPr>
          <p:spPr>
            <a:xfrm>
              <a:off x="313600" y="892375"/>
              <a:ext cx="61225" cy="72000"/>
            </a:xfrm>
            <a:custGeom>
              <a:avLst/>
              <a:gdLst/>
              <a:ahLst/>
              <a:cxnLst/>
              <a:rect l="l" t="t" r="r" b="b"/>
              <a:pathLst>
                <a:path w="2449" h="2880" extrusionOk="0">
                  <a:moveTo>
                    <a:pt x="2119" y="1"/>
                  </a:moveTo>
                  <a:cubicBezTo>
                    <a:pt x="2109" y="1"/>
                    <a:pt x="2100" y="1"/>
                    <a:pt x="2091" y="2"/>
                  </a:cubicBezTo>
                  <a:cubicBezTo>
                    <a:pt x="1563" y="75"/>
                    <a:pt x="1368" y="307"/>
                    <a:pt x="1058" y="718"/>
                  </a:cubicBezTo>
                  <a:cubicBezTo>
                    <a:pt x="810" y="1044"/>
                    <a:pt x="580" y="1384"/>
                    <a:pt x="363" y="1730"/>
                  </a:cubicBezTo>
                  <a:cubicBezTo>
                    <a:pt x="1" y="2314"/>
                    <a:pt x="567" y="2880"/>
                    <a:pt x="1092" y="2880"/>
                  </a:cubicBezTo>
                  <a:cubicBezTo>
                    <a:pt x="1324" y="2880"/>
                    <a:pt x="1548" y="2769"/>
                    <a:pt x="1680" y="2500"/>
                  </a:cubicBezTo>
                  <a:cubicBezTo>
                    <a:pt x="1875" y="2106"/>
                    <a:pt x="2047" y="1703"/>
                    <a:pt x="2206" y="1294"/>
                  </a:cubicBezTo>
                  <a:cubicBezTo>
                    <a:pt x="2392" y="820"/>
                    <a:pt x="2449" y="531"/>
                    <a:pt x="2236" y="62"/>
                  </a:cubicBezTo>
                  <a:cubicBezTo>
                    <a:pt x="2214" y="15"/>
                    <a:pt x="2165" y="1"/>
                    <a:pt x="2119"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0" name="Google Shape;310;p37">
              <a:extLst>
                <a:ext uri="{FF2B5EF4-FFF2-40B4-BE49-F238E27FC236}">
                  <a16:creationId xmlns:a16="http://schemas.microsoft.com/office/drawing/2014/main" id="{C1795A1C-49F1-405A-84D7-EB35095FF737}"/>
                </a:ext>
              </a:extLst>
            </p:cNvPr>
            <p:cNvSpPr/>
            <p:nvPr userDrawn="1"/>
          </p:nvSpPr>
          <p:spPr>
            <a:xfrm>
              <a:off x="494325" y="918150"/>
              <a:ext cx="45950" cy="107825"/>
            </a:xfrm>
            <a:custGeom>
              <a:avLst/>
              <a:gdLst/>
              <a:ahLst/>
              <a:cxnLst/>
              <a:rect l="l" t="t" r="r" b="b"/>
              <a:pathLst>
                <a:path w="1838" h="4313" extrusionOk="0">
                  <a:moveTo>
                    <a:pt x="1525" y="1"/>
                  </a:moveTo>
                  <a:cubicBezTo>
                    <a:pt x="1486" y="1"/>
                    <a:pt x="1447" y="10"/>
                    <a:pt x="1414" y="28"/>
                  </a:cubicBezTo>
                  <a:cubicBezTo>
                    <a:pt x="279" y="682"/>
                    <a:pt x="1" y="2576"/>
                    <a:pt x="171" y="3753"/>
                  </a:cubicBezTo>
                  <a:cubicBezTo>
                    <a:pt x="227" y="4140"/>
                    <a:pt x="529" y="4313"/>
                    <a:pt x="850" y="4313"/>
                  </a:cubicBezTo>
                  <a:cubicBezTo>
                    <a:pt x="1261" y="4313"/>
                    <a:pt x="1705" y="4029"/>
                    <a:pt x="1701" y="3547"/>
                  </a:cubicBezTo>
                  <a:cubicBezTo>
                    <a:pt x="1697" y="2933"/>
                    <a:pt x="1623" y="2341"/>
                    <a:pt x="1680" y="1724"/>
                  </a:cubicBezTo>
                  <a:cubicBezTo>
                    <a:pt x="1728" y="1194"/>
                    <a:pt x="1837" y="692"/>
                    <a:pt x="1744" y="163"/>
                  </a:cubicBezTo>
                  <a:cubicBezTo>
                    <a:pt x="1727" y="58"/>
                    <a:pt x="1624" y="1"/>
                    <a:pt x="1525"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1" name="Google Shape;311;p37">
              <a:extLst>
                <a:ext uri="{FF2B5EF4-FFF2-40B4-BE49-F238E27FC236}">
                  <a16:creationId xmlns:a16="http://schemas.microsoft.com/office/drawing/2014/main" id="{6039D46A-928A-4370-9A63-EA0CA268852B}"/>
                </a:ext>
              </a:extLst>
            </p:cNvPr>
            <p:cNvSpPr/>
            <p:nvPr userDrawn="1"/>
          </p:nvSpPr>
          <p:spPr>
            <a:xfrm>
              <a:off x="907250" y="541250"/>
              <a:ext cx="104925" cy="44025"/>
            </a:xfrm>
            <a:custGeom>
              <a:avLst/>
              <a:gdLst/>
              <a:ahLst/>
              <a:cxnLst/>
              <a:rect l="l" t="t" r="r" b="b"/>
              <a:pathLst>
                <a:path w="4197" h="1761" extrusionOk="0">
                  <a:moveTo>
                    <a:pt x="2036" y="0"/>
                  </a:moveTo>
                  <a:cubicBezTo>
                    <a:pt x="1290" y="0"/>
                    <a:pt x="519" y="155"/>
                    <a:pt x="137" y="693"/>
                  </a:cubicBezTo>
                  <a:cubicBezTo>
                    <a:pt x="0" y="884"/>
                    <a:pt x="97" y="1204"/>
                    <a:pt x="299" y="1309"/>
                  </a:cubicBezTo>
                  <a:cubicBezTo>
                    <a:pt x="566" y="1448"/>
                    <a:pt x="847" y="1456"/>
                    <a:pt x="1135" y="1456"/>
                  </a:cubicBezTo>
                  <a:cubicBezTo>
                    <a:pt x="1169" y="1456"/>
                    <a:pt x="1204" y="1456"/>
                    <a:pt x="1238" y="1456"/>
                  </a:cubicBezTo>
                  <a:cubicBezTo>
                    <a:pt x="1326" y="1456"/>
                    <a:pt x="1413" y="1456"/>
                    <a:pt x="1502" y="1461"/>
                  </a:cubicBezTo>
                  <a:cubicBezTo>
                    <a:pt x="1943" y="1486"/>
                    <a:pt x="2372" y="1595"/>
                    <a:pt x="2795" y="1722"/>
                  </a:cubicBezTo>
                  <a:cubicBezTo>
                    <a:pt x="2881" y="1748"/>
                    <a:pt x="2963" y="1760"/>
                    <a:pt x="3041" y="1760"/>
                  </a:cubicBezTo>
                  <a:cubicBezTo>
                    <a:pt x="3899" y="1760"/>
                    <a:pt x="4196" y="288"/>
                    <a:pt x="3238" y="115"/>
                  </a:cubicBezTo>
                  <a:cubicBezTo>
                    <a:pt x="2902" y="54"/>
                    <a:pt x="2474" y="0"/>
                    <a:pt x="2036"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grpSp>
        <p:nvGrpSpPr>
          <p:cNvPr id="122" name="Google Shape;312;p37">
            <a:extLst>
              <a:ext uri="{FF2B5EF4-FFF2-40B4-BE49-F238E27FC236}">
                <a16:creationId xmlns:a16="http://schemas.microsoft.com/office/drawing/2014/main" id="{4D11FDE0-6B4F-4C9D-8456-0914AE2A162C}"/>
              </a:ext>
            </a:extLst>
          </p:cNvPr>
          <p:cNvGrpSpPr/>
          <p:nvPr userDrawn="1"/>
        </p:nvGrpSpPr>
        <p:grpSpPr>
          <a:xfrm>
            <a:off x="387283" y="2379285"/>
            <a:ext cx="866775" cy="647700"/>
            <a:chOff x="0" y="0"/>
            <a:chExt cx="916225" cy="660225"/>
          </a:xfrm>
        </p:grpSpPr>
        <p:sp>
          <p:nvSpPr>
            <p:cNvPr id="123" name="Google Shape;313;p37">
              <a:extLst>
                <a:ext uri="{FF2B5EF4-FFF2-40B4-BE49-F238E27FC236}">
                  <a16:creationId xmlns:a16="http://schemas.microsoft.com/office/drawing/2014/main" id="{DF79A7DF-6896-4E54-8E1E-3DA55AB53B22}"/>
                </a:ext>
              </a:extLst>
            </p:cNvPr>
            <p:cNvSpPr/>
            <p:nvPr userDrawn="1"/>
          </p:nvSpPr>
          <p:spPr>
            <a:xfrm>
              <a:off x="0" y="0"/>
              <a:ext cx="916225" cy="660225"/>
            </a:xfrm>
            <a:custGeom>
              <a:avLst/>
              <a:gdLst/>
              <a:ahLst/>
              <a:cxnLst/>
              <a:rect l="l" t="t" r="r" b="b"/>
              <a:pathLst>
                <a:path w="36649" h="26409" extrusionOk="0">
                  <a:moveTo>
                    <a:pt x="22990" y="1502"/>
                  </a:moveTo>
                  <a:cubicBezTo>
                    <a:pt x="24636" y="1502"/>
                    <a:pt x="26251" y="1775"/>
                    <a:pt x="27734" y="2504"/>
                  </a:cubicBezTo>
                  <a:cubicBezTo>
                    <a:pt x="34704" y="5931"/>
                    <a:pt x="35360" y="15588"/>
                    <a:pt x="28935" y="19943"/>
                  </a:cubicBezTo>
                  <a:cubicBezTo>
                    <a:pt x="28675" y="20118"/>
                    <a:pt x="28439" y="20497"/>
                    <a:pt x="28574" y="20826"/>
                  </a:cubicBezTo>
                  <a:cubicBezTo>
                    <a:pt x="29254" y="22480"/>
                    <a:pt x="30274" y="23815"/>
                    <a:pt x="31605" y="24830"/>
                  </a:cubicBezTo>
                  <a:cubicBezTo>
                    <a:pt x="29557" y="24651"/>
                    <a:pt x="27668" y="23543"/>
                    <a:pt x="26518" y="21715"/>
                  </a:cubicBezTo>
                  <a:cubicBezTo>
                    <a:pt x="26364" y="21470"/>
                    <a:pt x="26128" y="21352"/>
                    <a:pt x="25885" y="21352"/>
                  </a:cubicBezTo>
                  <a:cubicBezTo>
                    <a:pt x="25695" y="21352"/>
                    <a:pt x="25502" y="21424"/>
                    <a:pt x="25338" y="21563"/>
                  </a:cubicBezTo>
                  <a:cubicBezTo>
                    <a:pt x="22839" y="23686"/>
                    <a:pt x="19493" y="24773"/>
                    <a:pt x="16164" y="24773"/>
                  </a:cubicBezTo>
                  <a:cubicBezTo>
                    <a:pt x="11835" y="24773"/>
                    <a:pt x="7535" y="22936"/>
                    <a:pt x="5160" y="19152"/>
                  </a:cubicBezTo>
                  <a:cubicBezTo>
                    <a:pt x="2622" y="15107"/>
                    <a:pt x="4899" y="10120"/>
                    <a:pt x="7851" y="6959"/>
                  </a:cubicBezTo>
                  <a:cubicBezTo>
                    <a:pt x="8283" y="6499"/>
                    <a:pt x="8743" y="6066"/>
                    <a:pt x="9230" y="5662"/>
                  </a:cubicBezTo>
                  <a:cubicBezTo>
                    <a:pt x="11347" y="4267"/>
                    <a:pt x="13707" y="3260"/>
                    <a:pt x="16182" y="2604"/>
                  </a:cubicBezTo>
                  <a:cubicBezTo>
                    <a:pt x="18320" y="2038"/>
                    <a:pt x="20684" y="1502"/>
                    <a:pt x="22990" y="1502"/>
                  </a:cubicBezTo>
                  <a:close/>
                  <a:moveTo>
                    <a:pt x="22921" y="0"/>
                  </a:moveTo>
                  <a:cubicBezTo>
                    <a:pt x="20883" y="0"/>
                    <a:pt x="18812" y="363"/>
                    <a:pt x="16843" y="849"/>
                  </a:cubicBezTo>
                  <a:cubicBezTo>
                    <a:pt x="15554" y="1167"/>
                    <a:pt x="14293" y="1584"/>
                    <a:pt x="13082" y="2104"/>
                  </a:cubicBezTo>
                  <a:cubicBezTo>
                    <a:pt x="6225" y="4767"/>
                    <a:pt x="1" y="12892"/>
                    <a:pt x="3814" y="19616"/>
                  </a:cubicBezTo>
                  <a:cubicBezTo>
                    <a:pt x="6346" y="24082"/>
                    <a:pt x="11197" y="26196"/>
                    <a:pt x="16102" y="26196"/>
                  </a:cubicBezTo>
                  <a:cubicBezTo>
                    <a:pt x="19536" y="26196"/>
                    <a:pt x="22996" y="25160"/>
                    <a:pt x="25706" y="23169"/>
                  </a:cubicBezTo>
                  <a:cubicBezTo>
                    <a:pt x="27286" y="25232"/>
                    <a:pt x="29698" y="26409"/>
                    <a:pt x="32242" y="26409"/>
                  </a:cubicBezTo>
                  <a:cubicBezTo>
                    <a:pt x="32931" y="26409"/>
                    <a:pt x="33630" y="26323"/>
                    <a:pt x="34324" y="26144"/>
                  </a:cubicBezTo>
                  <a:cubicBezTo>
                    <a:pt x="35137" y="25935"/>
                    <a:pt x="34984" y="24910"/>
                    <a:pt x="34324" y="24641"/>
                  </a:cubicBezTo>
                  <a:cubicBezTo>
                    <a:pt x="32541" y="23914"/>
                    <a:pt x="31137" y="22589"/>
                    <a:pt x="30302" y="20875"/>
                  </a:cubicBezTo>
                  <a:cubicBezTo>
                    <a:pt x="36648" y="16007"/>
                    <a:pt x="36480" y="6187"/>
                    <a:pt x="29567" y="1774"/>
                  </a:cubicBezTo>
                  <a:cubicBezTo>
                    <a:pt x="27529" y="473"/>
                    <a:pt x="25246" y="0"/>
                    <a:pt x="22921"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4" name="Google Shape;314;p37">
              <a:extLst>
                <a:ext uri="{FF2B5EF4-FFF2-40B4-BE49-F238E27FC236}">
                  <a16:creationId xmlns:a16="http://schemas.microsoft.com/office/drawing/2014/main" id="{B3F59764-2211-4809-8809-E37EA2A00CB4}"/>
                </a:ext>
              </a:extLst>
            </p:cNvPr>
            <p:cNvSpPr/>
            <p:nvPr userDrawn="1"/>
          </p:nvSpPr>
          <p:spPr>
            <a:xfrm>
              <a:off x="292975" y="392575"/>
              <a:ext cx="44325" cy="37875"/>
            </a:xfrm>
            <a:custGeom>
              <a:avLst/>
              <a:gdLst/>
              <a:ahLst/>
              <a:cxnLst/>
              <a:rect l="l" t="t" r="r" b="b"/>
              <a:pathLst>
                <a:path w="1773" h="1515" extrusionOk="0">
                  <a:moveTo>
                    <a:pt x="894" y="0"/>
                  </a:moveTo>
                  <a:cubicBezTo>
                    <a:pt x="405" y="0"/>
                    <a:pt x="1" y="547"/>
                    <a:pt x="280" y="1044"/>
                  </a:cubicBezTo>
                  <a:cubicBezTo>
                    <a:pt x="405" y="1267"/>
                    <a:pt x="569" y="1455"/>
                    <a:pt x="836" y="1501"/>
                  </a:cubicBezTo>
                  <a:cubicBezTo>
                    <a:pt x="890" y="1510"/>
                    <a:pt x="942" y="1514"/>
                    <a:pt x="992" y="1514"/>
                  </a:cubicBezTo>
                  <a:cubicBezTo>
                    <a:pt x="1457" y="1514"/>
                    <a:pt x="1772" y="1142"/>
                    <a:pt x="1689" y="648"/>
                  </a:cubicBezTo>
                  <a:cubicBezTo>
                    <a:pt x="1644" y="385"/>
                    <a:pt x="1454" y="215"/>
                    <a:pt x="1232" y="91"/>
                  </a:cubicBezTo>
                  <a:cubicBezTo>
                    <a:pt x="1120" y="28"/>
                    <a:pt x="1004" y="0"/>
                    <a:pt x="894" y="0"/>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5" name="Google Shape;315;p37">
              <a:extLst>
                <a:ext uri="{FF2B5EF4-FFF2-40B4-BE49-F238E27FC236}">
                  <a16:creationId xmlns:a16="http://schemas.microsoft.com/office/drawing/2014/main" id="{843EB960-B149-48D2-B2C7-169E954E0593}"/>
                </a:ext>
              </a:extLst>
            </p:cNvPr>
            <p:cNvSpPr/>
            <p:nvPr userDrawn="1"/>
          </p:nvSpPr>
          <p:spPr>
            <a:xfrm>
              <a:off x="389150" y="360000"/>
              <a:ext cx="60225" cy="53675"/>
            </a:xfrm>
            <a:custGeom>
              <a:avLst/>
              <a:gdLst/>
              <a:ahLst/>
              <a:cxnLst/>
              <a:rect l="l" t="t" r="r" b="b"/>
              <a:pathLst>
                <a:path w="2409" h="2147" extrusionOk="0">
                  <a:moveTo>
                    <a:pt x="1180" y="1"/>
                  </a:moveTo>
                  <a:cubicBezTo>
                    <a:pt x="1097" y="1"/>
                    <a:pt x="1013" y="11"/>
                    <a:pt x="927" y="34"/>
                  </a:cubicBezTo>
                  <a:cubicBezTo>
                    <a:pt x="386" y="183"/>
                    <a:pt x="0" y="802"/>
                    <a:pt x="178" y="1352"/>
                  </a:cubicBezTo>
                  <a:cubicBezTo>
                    <a:pt x="321" y="1795"/>
                    <a:pt x="742" y="2147"/>
                    <a:pt x="1208" y="2147"/>
                  </a:cubicBezTo>
                  <a:cubicBezTo>
                    <a:pt x="1303" y="2147"/>
                    <a:pt x="1399" y="2132"/>
                    <a:pt x="1495" y="2101"/>
                  </a:cubicBezTo>
                  <a:cubicBezTo>
                    <a:pt x="2043" y="1923"/>
                    <a:pt x="2408" y="1365"/>
                    <a:pt x="2244" y="783"/>
                  </a:cubicBezTo>
                  <a:cubicBezTo>
                    <a:pt x="2231" y="741"/>
                    <a:pt x="2219" y="700"/>
                    <a:pt x="2209" y="658"/>
                  </a:cubicBezTo>
                  <a:cubicBezTo>
                    <a:pt x="2137" y="379"/>
                    <a:pt x="1900" y="141"/>
                    <a:pt x="1621" y="69"/>
                  </a:cubicBezTo>
                  <a:cubicBezTo>
                    <a:pt x="1473" y="32"/>
                    <a:pt x="1328" y="1"/>
                    <a:pt x="1180"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6" name="Google Shape;316;p37">
              <a:extLst>
                <a:ext uri="{FF2B5EF4-FFF2-40B4-BE49-F238E27FC236}">
                  <a16:creationId xmlns:a16="http://schemas.microsoft.com/office/drawing/2014/main" id="{7165BA37-08A4-4E09-BB0E-056E6B4D16A6}"/>
                </a:ext>
              </a:extLst>
            </p:cNvPr>
            <p:cNvSpPr/>
            <p:nvPr userDrawn="1"/>
          </p:nvSpPr>
          <p:spPr>
            <a:xfrm>
              <a:off x="474150" y="332650"/>
              <a:ext cx="64550" cy="50050"/>
            </a:xfrm>
            <a:custGeom>
              <a:avLst/>
              <a:gdLst/>
              <a:ahLst/>
              <a:cxnLst/>
              <a:rect l="l" t="t" r="r" b="b"/>
              <a:pathLst>
                <a:path w="2582" h="2002" extrusionOk="0">
                  <a:moveTo>
                    <a:pt x="1291" y="1"/>
                  </a:moveTo>
                  <a:cubicBezTo>
                    <a:pt x="3" y="1"/>
                    <a:pt x="1" y="2002"/>
                    <a:pt x="1291" y="2002"/>
                  </a:cubicBezTo>
                  <a:cubicBezTo>
                    <a:pt x="2579" y="2002"/>
                    <a:pt x="2581" y="1"/>
                    <a:pt x="1291"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sp>
          <p:nvSpPr>
            <p:cNvPr id="127" name="Google Shape;317;p37">
              <a:extLst>
                <a:ext uri="{FF2B5EF4-FFF2-40B4-BE49-F238E27FC236}">
                  <a16:creationId xmlns:a16="http://schemas.microsoft.com/office/drawing/2014/main" id="{6DE8B1AB-769D-4F9B-82A7-6B291F83E8AC}"/>
                </a:ext>
              </a:extLst>
            </p:cNvPr>
            <p:cNvSpPr/>
            <p:nvPr userDrawn="1"/>
          </p:nvSpPr>
          <p:spPr>
            <a:xfrm>
              <a:off x="576975" y="301125"/>
              <a:ext cx="56125" cy="43525"/>
            </a:xfrm>
            <a:custGeom>
              <a:avLst/>
              <a:gdLst/>
              <a:ahLst/>
              <a:cxnLst/>
              <a:rect l="l" t="t" r="r" b="b"/>
              <a:pathLst>
                <a:path w="2245" h="1741" extrusionOk="0">
                  <a:moveTo>
                    <a:pt x="1123" y="1"/>
                  </a:moveTo>
                  <a:cubicBezTo>
                    <a:pt x="0" y="1"/>
                    <a:pt x="0" y="1741"/>
                    <a:pt x="1123" y="1741"/>
                  </a:cubicBezTo>
                  <a:cubicBezTo>
                    <a:pt x="2242" y="1741"/>
                    <a:pt x="2244" y="1"/>
                    <a:pt x="1123" y="1"/>
                  </a:cubicBezTo>
                  <a:close/>
                </a:path>
              </a:pathLst>
            </a:custGeom>
            <a:solidFill>
              <a:schemeClr val="dk2"/>
            </a:solidFill>
            <a:ln>
              <a:noFill/>
            </a:ln>
          </p:spPr>
          <p:txBody>
            <a:bodyPr spcFirstLastPara="1" wrap="square" lIns="91425" tIns="91425" rIns="91425" bIns="91425" anchor="ctr" anchorCtr="0">
              <a:noAutofit/>
            </a:bodyPr>
            <a:lstStyle/>
            <a:p>
              <a:endParaRPr lang="nl-NL"/>
            </a:p>
          </p:txBody>
        </p:sp>
      </p:grpSp>
      <p:sp>
        <p:nvSpPr>
          <p:cNvPr id="128" name="TextBox 127">
            <a:extLst>
              <a:ext uri="{FF2B5EF4-FFF2-40B4-BE49-F238E27FC236}">
                <a16:creationId xmlns:a16="http://schemas.microsoft.com/office/drawing/2014/main" id="{18B1A514-FFCC-4910-B0FD-7A1144DA81CD}"/>
              </a:ext>
            </a:extLst>
          </p:cNvPr>
          <p:cNvSpPr txBox="1"/>
          <p:nvPr userDrawn="1"/>
        </p:nvSpPr>
        <p:spPr>
          <a:xfrm>
            <a:off x="179783" y="192389"/>
            <a:ext cx="7215437"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YOUR REFLECTION – YOUR LEARNING</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 name="Text Placeholder 3">
            <a:extLst>
              <a:ext uri="{FF2B5EF4-FFF2-40B4-BE49-F238E27FC236}">
                <a16:creationId xmlns:a16="http://schemas.microsoft.com/office/drawing/2014/main" id="{2E2DA8AA-3985-4E68-4882-9C6A90508514}"/>
              </a:ext>
            </a:extLst>
          </p:cNvPr>
          <p:cNvSpPr>
            <a:spLocks noGrp="1"/>
          </p:cNvSpPr>
          <p:nvPr>
            <p:ph type="body" sz="quarter" idx="10" hasCustomPrompt="1"/>
          </p:nvPr>
        </p:nvSpPr>
        <p:spPr>
          <a:xfrm>
            <a:off x="421509" y="3128760"/>
            <a:ext cx="3450407" cy="3307423"/>
          </a:xfrm>
          <a:prstGeom prst="rect">
            <a:avLst/>
          </a:prstGeom>
        </p:spPr>
        <p:txBody>
          <a:bodyPr/>
          <a:lstStyle>
            <a:lvl1pPr marL="0" indent="0">
              <a:buNone/>
              <a:defRPr sz="1600">
                <a:latin typeface="Ink Free" panose="03080402000500000000" pitchFamily="66" charset="0"/>
              </a:defRPr>
            </a:lvl1pPr>
          </a:lstStyle>
          <a:p>
            <a:pPr lvl="0"/>
            <a:r>
              <a:rPr lang="en-US"/>
              <a:t>Click here to type your notes</a:t>
            </a:r>
            <a:endParaRPr lang="nl-NL"/>
          </a:p>
        </p:txBody>
      </p:sp>
      <p:sp>
        <p:nvSpPr>
          <p:cNvPr id="4" name="Text Placeholder 3">
            <a:extLst>
              <a:ext uri="{FF2B5EF4-FFF2-40B4-BE49-F238E27FC236}">
                <a16:creationId xmlns:a16="http://schemas.microsoft.com/office/drawing/2014/main" id="{C527A8E5-D36B-17AB-62D4-6397E78778F7}"/>
              </a:ext>
            </a:extLst>
          </p:cNvPr>
          <p:cNvSpPr>
            <a:spLocks noGrp="1"/>
          </p:cNvSpPr>
          <p:nvPr>
            <p:ph type="body" sz="quarter" idx="11" hasCustomPrompt="1"/>
          </p:nvPr>
        </p:nvSpPr>
        <p:spPr>
          <a:xfrm>
            <a:off x="8273824" y="2323813"/>
            <a:ext cx="3451106" cy="3421057"/>
          </a:xfrm>
          <a:prstGeom prst="rect">
            <a:avLst/>
          </a:prstGeom>
        </p:spPr>
        <p:txBody>
          <a:bodyPr/>
          <a:lstStyle>
            <a:lvl1pPr marL="0" indent="0">
              <a:buNone/>
              <a:defRPr sz="1600">
                <a:latin typeface="Ink Free" panose="03080402000500000000" pitchFamily="66" charset="0"/>
              </a:defRPr>
            </a:lvl1pPr>
          </a:lstStyle>
          <a:p>
            <a:pPr lvl="0"/>
            <a:r>
              <a:rPr lang="en-US"/>
              <a:t>Click here to type your notes</a:t>
            </a:r>
            <a:endParaRPr lang="nl-NL"/>
          </a:p>
        </p:txBody>
      </p:sp>
      <p:sp>
        <p:nvSpPr>
          <p:cNvPr id="5" name="Text Placeholder 3">
            <a:extLst>
              <a:ext uri="{FF2B5EF4-FFF2-40B4-BE49-F238E27FC236}">
                <a16:creationId xmlns:a16="http://schemas.microsoft.com/office/drawing/2014/main" id="{4A18E320-A776-5EA0-E4AB-4EAE7EF7F5D6}"/>
              </a:ext>
            </a:extLst>
          </p:cNvPr>
          <p:cNvSpPr>
            <a:spLocks noGrp="1"/>
          </p:cNvSpPr>
          <p:nvPr>
            <p:ph type="body" sz="quarter" idx="12" hasCustomPrompt="1"/>
          </p:nvPr>
        </p:nvSpPr>
        <p:spPr>
          <a:xfrm>
            <a:off x="4377822" y="2310955"/>
            <a:ext cx="3480564" cy="4125228"/>
          </a:xfrm>
          <a:prstGeom prst="rect">
            <a:avLst/>
          </a:prstGeom>
        </p:spPr>
        <p:txBody>
          <a:bodyPr/>
          <a:lstStyle>
            <a:lvl1pPr marL="0" indent="0">
              <a:buNone/>
              <a:defRPr sz="1600">
                <a:latin typeface="Ink Free" panose="03080402000500000000" pitchFamily="66" charset="0"/>
              </a:defRPr>
            </a:lvl1pPr>
          </a:lstStyle>
          <a:p>
            <a:pPr lvl="0"/>
            <a:r>
              <a:rPr lang="en-US"/>
              <a:t>Click here to type your notes</a:t>
            </a:r>
            <a:endParaRPr lang="nl-NL"/>
          </a:p>
        </p:txBody>
      </p:sp>
      <p:sp>
        <p:nvSpPr>
          <p:cNvPr id="2" name="Slide Number Placeholder 1">
            <a:extLst>
              <a:ext uri="{FF2B5EF4-FFF2-40B4-BE49-F238E27FC236}">
                <a16:creationId xmlns:a16="http://schemas.microsoft.com/office/drawing/2014/main" id="{F4C4BF29-2849-0E26-C562-0BE7437E4F5D}"/>
              </a:ext>
            </a:extLst>
          </p:cNvPr>
          <p:cNvSpPr>
            <a:spLocks noGrp="1"/>
          </p:cNvSpPr>
          <p:nvPr>
            <p:ph type="sldNum" sz="quarter" idx="13"/>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47519937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HANK YOU PAGE AF 1">
    <p:bg>
      <p:bgPr>
        <a:gradFill>
          <a:gsLst>
            <a:gs pos="24000">
              <a:schemeClr val="bg1">
                <a:alpha val="0"/>
              </a:schemeClr>
            </a:gs>
            <a:gs pos="100000">
              <a:srgbClr val="D2EEFC"/>
            </a:gs>
          </a:gsLst>
          <a:lin ang="18900000" scaled="1"/>
        </a:gradFill>
        <a:effectLst/>
      </p:bgPr>
    </p:bg>
    <p:spTree>
      <p:nvGrpSpPr>
        <p:cNvPr id="1" name=""/>
        <p:cNvGrpSpPr/>
        <p:nvPr/>
      </p:nvGrpSpPr>
      <p:grpSpPr>
        <a:xfrm>
          <a:off x="0" y="0"/>
          <a:ext cx="0" cy="0"/>
          <a:chOff x="0" y="0"/>
          <a:chExt cx="0" cy="0"/>
        </a:xfrm>
      </p:grpSpPr>
      <p:pic>
        <p:nvPicPr>
          <p:cNvPr id="11" name="Picture 6">
            <a:extLst>
              <a:ext uri="{FF2B5EF4-FFF2-40B4-BE49-F238E27FC236}">
                <a16:creationId xmlns:a16="http://schemas.microsoft.com/office/drawing/2014/main" id="{35B8C781-36CE-4DB0-85EE-7F1A5BE1602C}"/>
              </a:ext>
            </a:extLst>
          </p:cNvPr>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a:fillRect/>
          </a:stretch>
        </p:blipFill>
        <p:spPr bwMode="auto">
          <a:xfrm>
            <a:off x="0" y="0"/>
            <a:ext cx="7002463"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7CA32A7-65CC-446F-90F1-D5810D05E72C}"/>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9" name="Group 8">
            <a:extLst>
              <a:ext uri="{FF2B5EF4-FFF2-40B4-BE49-F238E27FC236}">
                <a16:creationId xmlns:a16="http://schemas.microsoft.com/office/drawing/2014/main" id="{3100EEB8-1F3F-425B-B2F9-94EF253497DA}"/>
              </a:ext>
            </a:extLst>
          </p:cNvPr>
          <p:cNvGrpSpPr/>
          <p:nvPr userDrawn="1"/>
        </p:nvGrpSpPr>
        <p:grpSpPr>
          <a:xfrm>
            <a:off x="6073832" y="268219"/>
            <a:ext cx="5836821" cy="5088756"/>
            <a:chOff x="5836362" y="68074"/>
            <a:chExt cx="6083274" cy="5355263"/>
          </a:xfrm>
        </p:grpSpPr>
        <p:sp>
          <p:nvSpPr>
            <p:cNvPr id="12" name="Oval 11">
              <a:extLst>
                <a:ext uri="{FF2B5EF4-FFF2-40B4-BE49-F238E27FC236}">
                  <a16:creationId xmlns:a16="http://schemas.microsoft.com/office/drawing/2014/main" id="{672DBACD-3B29-48FA-BB57-3FF5E11F436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42F7FF86-A528-48C8-BC4F-B0280FC875B2}"/>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Circle: Hollow 13">
              <a:extLst>
                <a:ext uri="{FF2B5EF4-FFF2-40B4-BE49-F238E27FC236}">
                  <a16:creationId xmlns:a16="http://schemas.microsoft.com/office/drawing/2014/main" id="{0C2E630D-7A77-4391-B763-5D99596A8C98}"/>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Oval 14">
              <a:extLst>
                <a:ext uri="{FF2B5EF4-FFF2-40B4-BE49-F238E27FC236}">
                  <a16:creationId xmlns:a16="http://schemas.microsoft.com/office/drawing/2014/main" id="{4423A166-77F7-4255-A461-D201E6B7B58C}"/>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Circle: Hollow 15">
              <a:extLst>
                <a:ext uri="{FF2B5EF4-FFF2-40B4-BE49-F238E27FC236}">
                  <a16:creationId xmlns:a16="http://schemas.microsoft.com/office/drawing/2014/main" id="{F8636B5B-FD40-416C-9A18-B98DE23DDF24}"/>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7" name="Oval 16">
              <a:extLst>
                <a:ext uri="{FF2B5EF4-FFF2-40B4-BE49-F238E27FC236}">
                  <a16:creationId xmlns:a16="http://schemas.microsoft.com/office/drawing/2014/main" id="{F92253AD-A08C-41C2-9746-338111993FA3}"/>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92EDAC14-0032-42B6-9F9E-2D85DB6FD7EB}"/>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20755191-1DA0-4CF8-8448-69DFB6F1FBCF}"/>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Circle: Hollow 24">
              <a:extLst>
                <a:ext uri="{FF2B5EF4-FFF2-40B4-BE49-F238E27FC236}">
                  <a16:creationId xmlns:a16="http://schemas.microsoft.com/office/drawing/2014/main" id="{766018A7-08D0-4D97-BCBA-4C0972B5B70A}"/>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Circle: Hollow 25">
              <a:extLst>
                <a:ext uri="{FF2B5EF4-FFF2-40B4-BE49-F238E27FC236}">
                  <a16:creationId xmlns:a16="http://schemas.microsoft.com/office/drawing/2014/main" id="{83084BA5-1453-4D45-A000-E26D51CE3CC2}"/>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7" name="Oval 26">
              <a:extLst>
                <a:ext uri="{FF2B5EF4-FFF2-40B4-BE49-F238E27FC236}">
                  <a16:creationId xmlns:a16="http://schemas.microsoft.com/office/drawing/2014/main" id="{1CE56E73-296E-4DBE-AD69-4B90D1CCC282}"/>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301B19C2-782C-4EF5-84D9-103CC7278F41}"/>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927EE673-D7AF-4F70-906F-A89A0EDC5ABA}"/>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0" name="Oval 29">
              <a:extLst>
                <a:ext uri="{FF2B5EF4-FFF2-40B4-BE49-F238E27FC236}">
                  <a16:creationId xmlns:a16="http://schemas.microsoft.com/office/drawing/2014/main" id="{CB7E533D-FED4-4225-8963-76EA05B3AA9F}"/>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1" name="Circle: Hollow 30">
              <a:extLst>
                <a:ext uri="{FF2B5EF4-FFF2-40B4-BE49-F238E27FC236}">
                  <a16:creationId xmlns:a16="http://schemas.microsoft.com/office/drawing/2014/main" id="{94D2EAF9-A3FD-4FEB-AD3F-4AB612C3C374}"/>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2" name="Oval 31">
              <a:extLst>
                <a:ext uri="{FF2B5EF4-FFF2-40B4-BE49-F238E27FC236}">
                  <a16:creationId xmlns:a16="http://schemas.microsoft.com/office/drawing/2014/main" id="{36D907B9-39BB-48B0-ADA1-4C55F461715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DAB1E9B4-C5BC-4D6F-ACF5-55AA3484C9D7}"/>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84F129F0-D9F9-4423-A68E-2F371CC3EB12}"/>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8106732A-72C0-48C5-885E-C6E033A32287}"/>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FEA4A954-AF44-4848-A34A-5FAB301571B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D7FC9AF0-3EB1-4D9F-9E4C-443485F5D156}"/>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E813DEC-9315-478B-8736-0820166CB6D5}"/>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5432A525-008F-4029-95CF-E3F69EC14C3F}"/>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06F333CF-707E-40A3-BAB3-048F27BF12B2}"/>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1" name="Oval 40">
              <a:extLst>
                <a:ext uri="{FF2B5EF4-FFF2-40B4-BE49-F238E27FC236}">
                  <a16:creationId xmlns:a16="http://schemas.microsoft.com/office/drawing/2014/main" id="{843D06FE-84E3-4BB8-A47C-3B02F62A8AC7}"/>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B0864EB8-0D02-41B2-9DAD-7968B0E90EE8}"/>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C785A0AB-A18E-456A-93B4-E082724BEB2B}"/>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A5CB91CE-80F1-439E-B2EB-7DADF2FBC05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6680E319-7F05-4888-9FB4-296DCE9C9E75}"/>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97A3479-E806-4FDD-AC6F-D0BBEF1F11AF}"/>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7" name="Oval 46">
              <a:extLst>
                <a:ext uri="{FF2B5EF4-FFF2-40B4-BE49-F238E27FC236}">
                  <a16:creationId xmlns:a16="http://schemas.microsoft.com/office/drawing/2014/main" id="{186DE44C-BCD9-4CCB-958E-A8D58488F8E5}"/>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89D49990-909D-42C1-864E-0B4B7C950B8F}"/>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FB656CE1-1C45-494C-83F3-0DE85AD10BCA}"/>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4AC3108F-EE7B-4D7A-AAD2-58A943325D4A}"/>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00577402-C60D-47B9-A9A4-29FEF86FDBAE}"/>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E7498CB7-5019-4F21-941D-10DE5C7D7E2A}"/>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867DB938-6E06-473B-9406-513B39E4DBCE}"/>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Oval 53">
              <a:extLst>
                <a:ext uri="{FF2B5EF4-FFF2-40B4-BE49-F238E27FC236}">
                  <a16:creationId xmlns:a16="http://schemas.microsoft.com/office/drawing/2014/main" id="{9691D319-AAAF-4E10-AAAB-B222F822EFAF}"/>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Oval 54">
              <a:extLst>
                <a:ext uri="{FF2B5EF4-FFF2-40B4-BE49-F238E27FC236}">
                  <a16:creationId xmlns:a16="http://schemas.microsoft.com/office/drawing/2014/main" id="{791E099E-7728-4C1F-A1AC-9CF45102A051}"/>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Oval 55">
              <a:extLst>
                <a:ext uri="{FF2B5EF4-FFF2-40B4-BE49-F238E27FC236}">
                  <a16:creationId xmlns:a16="http://schemas.microsoft.com/office/drawing/2014/main" id="{62FE81AA-1DDF-44B8-9E3E-B2BD2B5F3517}"/>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Circle: Hollow 56">
              <a:extLst>
                <a:ext uri="{FF2B5EF4-FFF2-40B4-BE49-F238E27FC236}">
                  <a16:creationId xmlns:a16="http://schemas.microsoft.com/office/drawing/2014/main" id="{FE697FDC-9678-4E01-9132-96BBFBA7E26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8" name="Circle: Hollow 57">
              <a:extLst>
                <a:ext uri="{FF2B5EF4-FFF2-40B4-BE49-F238E27FC236}">
                  <a16:creationId xmlns:a16="http://schemas.microsoft.com/office/drawing/2014/main" id="{C1BCC805-69D9-406E-A4EF-2AB88B7AD5D6}"/>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64636D2D-766F-2175-AB89-8492205155E3}"/>
              </a:ext>
            </a:extLst>
          </p:cNvPr>
          <p:cNvGrpSpPr/>
          <p:nvPr userDrawn="1"/>
        </p:nvGrpSpPr>
        <p:grpSpPr>
          <a:xfrm>
            <a:off x="159315" y="144317"/>
            <a:ext cx="5267789" cy="638537"/>
            <a:chOff x="0" y="0"/>
            <a:chExt cx="3793402" cy="559435"/>
          </a:xfrm>
        </p:grpSpPr>
        <p:sp>
          <p:nvSpPr>
            <p:cNvPr id="3" name="Rectangle 2">
              <a:extLst>
                <a:ext uri="{FF2B5EF4-FFF2-40B4-BE49-F238E27FC236}">
                  <a16:creationId xmlns:a16="http://schemas.microsoft.com/office/drawing/2014/main" id="{5065638E-8872-1A62-CEA8-22B7C594ECC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4" name="Picture 3">
              <a:extLst>
                <a:ext uri="{FF2B5EF4-FFF2-40B4-BE49-F238E27FC236}">
                  <a16:creationId xmlns:a16="http://schemas.microsoft.com/office/drawing/2014/main" id="{BE901E51-0E5B-47D1-3CB5-9C339FA13D8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16386E44-7124-FFF1-2E60-7B5BB87DEA7B}"/>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994A688E-E070-B4D9-9392-53EB59258877}"/>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1208838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HANK YOU PAGE AF 2">
    <p:bg>
      <p:bgPr>
        <a:solidFill>
          <a:schemeClr val="bg1"/>
        </a:solidFill>
        <a:effectLst/>
      </p:bgPr>
    </p:bg>
    <p:spTree>
      <p:nvGrpSpPr>
        <p:cNvPr id="1" name=""/>
        <p:cNvGrpSpPr/>
        <p:nvPr/>
      </p:nvGrpSpPr>
      <p:grpSpPr>
        <a:xfrm>
          <a:off x="0" y="0"/>
          <a:ext cx="0" cy="0"/>
          <a:chOff x="0" y="0"/>
          <a:chExt cx="0" cy="0"/>
        </a:xfrm>
      </p:grpSpPr>
      <p:pic>
        <p:nvPicPr>
          <p:cNvPr id="56" name="Picture 2">
            <a:extLst>
              <a:ext uri="{FF2B5EF4-FFF2-40B4-BE49-F238E27FC236}">
                <a16:creationId xmlns:a16="http://schemas.microsoft.com/office/drawing/2014/main" id="{4B875472-0CD0-4D97-A4E1-91E9A8328F02}"/>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668" y="0"/>
            <a:ext cx="788103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a:extLst>
              <a:ext uri="{FF2B5EF4-FFF2-40B4-BE49-F238E27FC236}">
                <a16:creationId xmlns:a16="http://schemas.microsoft.com/office/drawing/2014/main" id="{232F2D46-4570-4AEC-9ED6-5E35E3BAB85A}"/>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140" b="99482" l="55885" r="99477">
                        <a14:foregroundMark x1="89974" y1="2073" x2="91718" y2="27047"/>
                        <a14:foregroundMark x1="97384" y1="6943" x2="98131" y2="35469"/>
                        <a14:foregroundMark x1="98954" y1="64870" x2="90759" y2="99689"/>
                        <a14:foregroundMark x1="65475" y1="62280" x2="71752" y2="98342"/>
                        <a14:foregroundMark x1="99477" y1="98342" x2="92589" y2="98964"/>
                        <a14:foregroundMark x1="92589" y1="98964" x2="73147" y2="97409"/>
                        <a14:foregroundMark x1="73147" y1="97409" x2="62772" y2="97409"/>
                        <a14:foregroundMark x1="62772" y1="97409" x2="62249" y2="97824"/>
                        <a14:foregroundMark x1="93287" y1="76580" x2="81779" y2="89741"/>
                        <a14:foregroundMark x1="81779" y1="89741" x2="81430" y2="90052"/>
                        <a14:foregroundMark x1="65126" y1="65389" x2="57018" y2="83938"/>
                        <a14:foregroundMark x1="57018" y1="83938" x2="55972" y2="91399"/>
                        <a14:foregroundMark x1="55972" y1="91399" x2="56234" y2="93782"/>
                        <a14:foregroundMark x1="92851" y1="37409" x2="77855" y2="39275"/>
                        <a14:foregroundMark x1="85615" y1="48601" x2="84743" y2="53161"/>
                        <a14:foregroundMark x1="94159" y1="3212" x2="65737" y2="25596"/>
                        <a14:foregroundMark x1="85615" y1="1140" x2="67568" y2="16166"/>
                        <a14:foregroundMark x1="74106" y1="4456" x2="69137" y2="13368"/>
                        <a14:foregroundMark x1="70793" y1="7668" x2="66434" y2="18342"/>
                        <a14:foregroundMark x1="98169" y1="41347" x2="97472" y2="43212"/>
                        <a14:backgroundMark x1="99420" y1="42340" x2="99477" y2="45699"/>
                        <a14:backgroundMark x1="99303" y1="35440" x2="99414" y2="41966"/>
                        <a14:backgroundMark x1="99477" y1="45699" x2="95728" y2="60000"/>
                        <a14:backgroundMark x1="71578" y1="44870" x2="70445" y2="61658"/>
                        <a14:backgroundMark x1="70445" y1="61658" x2="71055" y2="63005"/>
                        <a14:backgroundMark x1="63644" y1="59482" x2="57890" y2="64663"/>
                        <a14:backgroundMark x1="53531" y1="92642" x2="53705" y2="97306"/>
                        <a14:backgroundMark x1="91020" y1="415" x2="86574" y2="829"/>
                        <a14:backgroundMark x1="83958" y1="0" x2="83173" y2="0"/>
                      </a14:backgroundRemoval>
                    </a14:imgEffect>
                  </a14:imgLayer>
                </a14:imgProps>
              </a:ext>
              <a:ext uri="{28A0092B-C50C-407E-A947-70E740481C1C}">
                <a14:useLocalDpi xmlns:a14="http://schemas.microsoft.com/office/drawing/2010/main" val="0"/>
              </a:ext>
            </a:extLst>
          </a:blip>
          <a:srcRect l="51893"/>
          <a:stretch/>
        </p:blipFill>
        <p:spPr bwMode="auto">
          <a:xfrm flipH="1">
            <a:off x="-6030" y="-16126"/>
            <a:ext cx="3791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1C47F234-0A60-4960-850E-D7781A59071D}"/>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10" name="Group 9">
            <a:extLst>
              <a:ext uri="{FF2B5EF4-FFF2-40B4-BE49-F238E27FC236}">
                <a16:creationId xmlns:a16="http://schemas.microsoft.com/office/drawing/2014/main" id="{89517E1E-13C9-41DE-B8B6-85208D9852AE}"/>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97EDEBF5-B318-4F20-98E0-A5EEDF1165FB}"/>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99ED2D3C-D048-4639-AECA-73D9C3948E99}"/>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B8EB2903-AA1F-42AD-B0A9-D6274F815D15}"/>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F4199C2E-807F-43A8-A499-EBE88A24A0A3}"/>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6398FC5B-6E56-4C97-AEC8-01592F57DB5B}"/>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0685FE09-4D20-4C04-B53A-DA88BFC9EB4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D589A8C9-F558-45E8-AC82-B54687BE6655}"/>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6C883584-BFCD-40AD-8EFA-D2A8A62C7B0A}"/>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C6F2F031-BA0D-460B-A758-60915EAEC071}"/>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65FF7D9-FD14-4844-B7A8-AF564567DB96}"/>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DDB206D4-1889-484D-807B-796F58382B1E}"/>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B0EDFE87-AF38-4993-8346-49BF237346C4}"/>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1C00934C-7580-4B89-86A6-EE5836A863F4}"/>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62A043CB-D9FE-47AB-93F7-CCB2A0B731A6}"/>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FB56B01D-4300-4DEA-8ED7-63CE4DDFB2B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D0009705-0F62-42E0-8505-1AEE053BE78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C664632D-B114-4CE7-8938-54B4D2F6A50D}"/>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5C86EC49-10A3-4174-BD7B-1B420B1A9AC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053E8A9B-81B2-4BEE-879A-C296B59A3262}"/>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F09970AF-51F0-43A9-B6C7-5AE88348950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4A1D494F-33C3-485D-A5FE-80939935685A}"/>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771143BF-A24E-4ED5-9D8D-599F220F1423}"/>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FF6484BD-887D-4FF0-9DD5-0A01BF62A75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306482A0-147A-4950-8C53-BAC1E52172DF}"/>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82749C75-A67C-4720-AB92-DC49143EEC7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7919612C-6DBE-4CE3-B77B-2B7B3198514C}"/>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F708FE6B-B0C6-4AD7-9444-2BD3F93A3618}"/>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5BCFC0A7-853C-495B-9D68-EA009544765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A257126C-3FEB-4719-A85E-BB9B6E08B7B7}"/>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BA26391D-B704-4736-9086-3AFB6EE2C8D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3D732B-79E6-4292-8812-4FF89620B7E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70C8A1EE-A5AC-437F-A736-A9BC03F64570}"/>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550BEEA3-3B8A-4ECA-935D-32D25E87EFBD}"/>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8DACAAD8-2D35-4D45-B1C2-345DFD060D95}"/>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C01AD63C-45AD-4EC1-9665-AB4855AFDC18}"/>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5729DBDB-C379-4BA1-AE43-B2A644932BA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7C087-52BC-4EFC-BD09-20152F47ED9E}"/>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0107CC9-94EB-4B97-B1C6-E75EDABBE6CF}"/>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6B275410-3950-451A-8F58-0AD448F97BA5}"/>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9DE0AEFE-063C-43D2-BC75-96E8F09953DB}"/>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3F872ED9-D0B8-4E00-A97F-2945B3CDC4BC}"/>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8B0131FC-FE78-4B3B-8273-515AC1331A43}"/>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FB5F193C-C422-A08D-02A3-94B24BAADDDC}"/>
              </a:ext>
            </a:extLst>
          </p:cNvPr>
          <p:cNvGrpSpPr/>
          <p:nvPr userDrawn="1"/>
        </p:nvGrpSpPr>
        <p:grpSpPr>
          <a:xfrm>
            <a:off x="159315" y="144317"/>
            <a:ext cx="5267789" cy="638537"/>
            <a:chOff x="0" y="0"/>
            <a:chExt cx="3793402" cy="559435"/>
          </a:xfrm>
        </p:grpSpPr>
        <p:sp>
          <p:nvSpPr>
            <p:cNvPr id="3" name="Rectangle 2">
              <a:extLst>
                <a:ext uri="{FF2B5EF4-FFF2-40B4-BE49-F238E27FC236}">
                  <a16:creationId xmlns:a16="http://schemas.microsoft.com/office/drawing/2014/main" id="{04AEE2FA-0CF8-1975-8801-0196B63F5668}"/>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4" name="Picture 3">
              <a:extLst>
                <a:ext uri="{FF2B5EF4-FFF2-40B4-BE49-F238E27FC236}">
                  <a16:creationId xmlns:a16="http://schemas.microsoft.com/office/drawing/2014/main" id="{C6E8B07D-7BC9-D0EE-12C6-9E657CE2753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73AA5F0D-19E7-CA8D-5038-8E181FFB52C3}"/>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CE7166ED-3247-EF3A-FDA5-1BDF4E5F3E7D}"/>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7731359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ANK YOU PAGE AF 3">
    <p:bg>
      <p:bgPr>
        <a:solidFill>
          <a:schemeClr val="bg1"/>
        </a:solidFill>
        <a:effectLst/>
      </p:bgPr>
    </p:bg>
    <p:spTree>
      <p:nvGrpSpPr>
        <p:cNvPr id="1" name=""/>
        <p:cNvGrpSpPr/>
        <p:nvPr/>
      </p:nvGrpSpPr>
      <p:grpSpPr>
        <a:xfrm>
          <a:off x="0" y="0"/>
          <a:ext cx="0" cy="0"/>
          <a:chOff x="0" y="0"/>
          <a:chExt cx="0" cy="0"/>
        </a:xfrm>
      </p:grpSpPr>
      <p:pic>
        <p:nvPicPr>
          <p:cNvPr id="52" name="Picture 4">
            <a:extLst>
              <a:ext uri="{FF2B5EF4-FFF2-40B4-BE49-F238E27FC236}">
                <a16:creationId xmlns:a16="http://schemas.microsoft.com/office/drawing/2014/main" id="{42CD170D-E2D3-4EAE-96C3-BEDCB4AAD04E}"/>
              </a:ext>
            </a:extLst>
          </p:cNvPr>
          <p:cNvPicPr>
            <a:picLocks noChangeAspect="1" noChangeArrowheads="1"/>
          </p:cNvPicPr>
          <p:nvPr userDrawn="1"/>
        </p:nvPicPr>
        <p:blipFill rotWithShape="1">
          <a:blip r:embed="rId2"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flipH="1">
            <a:off x="-868" y="0"/>
            <a:ext cx="8137632"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a:extLst>
              <a:ext uri="{FF2B5EF4-FFF2-40B4-BE49-F238E27FC236}">
                <a16:creationId xmlns:a16="http://schemas.microsoft.com/office/drawing/2014/main" id="{3DEB0242-D4DB-4D9A-B54E-93F2FAB9C256}"/>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90" b="99792" l="32727" r="70579">
                        <a14:foregroundMark x1="55455" y1="50780" x2="50661" y2="51821"/>
                        <a14:foregroundMark x1="67360" y1="47043" x2="67646" y2="54115"/>
                        <a14:foregroundMark x1="66281" y1="20291" x2="67356" y2="46928"/>
                        <a14:foregroundMark x1="68043" y1="65556" x2="66116" y2="72633"/>
                        <a14:foregroundMark x1="66116" y1="72633" x2="63554" y2="71072"/>
                        <a14:foregroundMark x1="59091" y1="59729" x2="50909" y2="99792"/>
                        <a14:foregroundMark x1="64463" y1="19459" x2="60496" y2="29553"/>
                        <a14:foregroundMark x1="66446" y1="20499" x2="70165" y2="26015"/>
                        <a14:foregroundMark x1="70165" y1="26015" x2="70430" y2="29683"/>
                        <a14:foregroundMark x1="64215" y1="19979" x2="52810" y2="23413"/>
                        <a14:foregroundMark x1="60331" y1="18835" x2="50992" y2="24246"/>
                        <a14:foregroundMark x1="59008" y1="19043" x2="52397" y2="23205"/>
                        <a14:foregroundMark x1="52397" y1="23205" x2="51736" y2="24142"/>
                        <a14:foregroundMark x1="43554" y1="68574" x2="36033" y2="94381"/>
                        <a14:foregroundMark x1="36033" y1="94381" x2="32727" y2="98855"/>
                        <a14:foregroundMark x1="38017" y1="69823" x2="33802" y2="92612"/>
                        <a14:foregroundMark x1="46694" y1="70968" x2="43140" y2="77419"/>
                        <a14:foregroundMark x1="64711" y1="51405" x2="65289" y2="59105"/>
                        <a14:foregroundMark x1="65537" y1="67430" x2="58264" y2="99584"/>
                        <a14:foregroundMark x1="70579" y1="26223" x2="67603" y2="21956"/>
                        <a14:foregroundMark x1="70248" y1="25702" x2="67603" y2="21748"/>
                        <a14:foregroundMark x1="51322" y1="24454" x2="47686" y2="30385"/>
                        <a14:foregroundMark x1="47686" y1="30385" x2="47686" y2="30385"/>
                        <a14:foregroundMark x1="50992" y1="24454" x2="47934" y2="29969"/>
                        <a14:backgroundMark x1="71240" y1="29865" x2="68760" y2="47242"/>
                        <a14:backgroundMark x1="68760" y1="47242" x2="69256" y2="54943"/>
                        <a14:backgroundMark x1="69256" y1="54943" x2="68760" y2="57024"/>
                        <a14:backgroundMark x1="67851" y1="54110" x2="68017" y2="65557"/>
                      </a14:backgroundRemoval>
                    </a14:imgEffect>
                  </a14:imgLayer>
                </a14:imgProps>
              </a:ext>
              <a:ext uri="{28A0092B-C50C-407E-A947-70E740481C1C}">
                <a14:useLocalDpi xmlns:a14="http://schemas.microsoft.com/office/drawing/2010/main" val="0"/>
              </a:ext>
            </a:extLst>
          </a:blip>
          <a:srcRect l="29877" r="28609"/>
          <a:stretch/>
        </p:blipFill>
        <p:spPr bwMode="auto">
          <a:xfrm flipH="1">
            <a:off x="1850719" y="-10556"/>
            <a:ext cx="3693747" cy="6893955"/>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1FB02DD8-058B-40C6-B85E-3CF1B28296F6}"/>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10" name="Group 9">
            <a:extLst>
              <a:ext uri="{FF2B5EF4-FFF2-40B4-BE49-F238E27FC236}">
                <a16:creationId xmlns:a16="http://schemas.microsoft.com/office/drawing/2014/main" id="{623768C3-800A-4409-8A50-B68E694CF72F}"/>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60F467B-DBA3-4A1F-8AD4-5F15E2DFB485}"/>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9BA5727F-8EA2-4B25-8A65-17396D895918}"/>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C4EFF58C-098D-4DBE-B150-A05A1498C1BE}"/>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50BBBEE4-A3A2-4329-950B-E56D6573E2E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D359FDD4-E223-47C9-A07A-069F94AE4571}"/>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DC66F4E3-040F-4AC6-981D-826451AD706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975A1043-2145-48D9-B59A-70A2CA720056}"/>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837C9E58-08F8-48ED-B14C-41F09A690E85}"/>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B27AEB0B-8C69-45A7-8FCC-E4436C3ACFEC}"/>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FE473A9D-7737-4C3D-BF62-2CC98999355F}"/>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72F77BD8-6C6D-4E33-853C-E1CC361B7664}"/>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F082B40D-7D10-4932-B7B3-E5F4A4DA78A7}"/>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B6B40ACD-DEF8-400E-AAE5-7DFB71DB12CD}"/>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31975E9C-8933-4AC0-B32D-789842EF6518}"/>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E1FCECF0-1B3C-4E66-9D49-E93E797165B3}"/>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6A4E41CA-DCCD-49B7-A252-3F77F7609F46}"/>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7F863B20-88D1-4546-9708-F283FC1CB734}"/>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85FE9C95-360F-49F8-8CAB-F096E7D57511}"/>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A8A2A2F1-2783-441E-BF62-F28790B54C5E}"/>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C7E1B94F-F5D8-456B-AFFC-6D6B8014E3A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891E486A-D8DB-4D08-8B6D-E5D433A9C845}"/>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89EB3962-50F1-47E2-9165-6D7EDC083359}"/>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8C1028C9-8170-408E-936B-10C6B65714A8}"/>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74C448A1-5EDE-49EE-BEFD-A9B9AFA8DD6D}"/>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5530ED0F-61D5-49BC-8FBF-CBFBBE474EA5}"/>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B2D74C5-FD12-4BD1-9A70-CE2E9AF57494}"/>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131AF2FB-B1A2-4EB2-B097-FEEA42B50FDC}"/>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875E928A-8E92-47DA-B73D-12C8D94A21F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3FDF5F2D-3989-446F-9236-DAFFCEC240A3}"/>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0A654F5-A607-4D4C-BCDC-9DE8832480E2}"/>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58FE8A3D-594F-4662-A898-B16D8E2185C4}"/>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69244482-D526-4CF3-ADB6-BDE0A92D9443}"/>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9B0CB5A7-8B3B-4448-A88B-D02B55C3E407}"/>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5FB2F645-B9B9-4F9F-8819-462990AEA9FA}"/>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ED603EC3-9019-4421-8CD1-23F744B100D7}"/>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D0A948F2-77D6-4B6D-A6F7-A9FA7089EE6E}"/>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C9E5563-46BE-4893-92CD-2C370B985637}"/>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9FDC529F-B302-44D0-88B6-F81B35711EC4}"/>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EF83611F-74B7-499E-BCF8-EB10A3851F68}"/>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89503EBE-2E0A-4FDA-A592-83AB7B2B191B}"/>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Circle: Hollow 53">
              <a:extLst>
                <a:ext uri="{FF2B5EF4-FFF2-40B4-BE49-F238E27FC236}">
                  <a16:creationId xmlns:a16="http://schemas.microsoft.com/office/drawing/2014/main" id="{7FE96ADE-012C-4B97-BD80-4522B43E7E7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5" name="Circle: Hollow 54">
              <a:extLst>
                <a:ext uri="{FF2B5EF4-FFF2-40B4-BE49-F238E27FC236}">
                  <a16:creationId xmlns:a16="http://schemas.microsoft.com/office/drawing/2014/main" id="{92B86EB3-2A92-4BD0-9195-8BE56F188DAA}"/>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4AFBD3F-AD5D-8600-AC6D-EB20C8BA1297}"/>
              </a:ext>
            </a:extLst>
          </p:cNvPr>
          <p:cNvGrpSpPr/>
          <p:nvPr userDrawn="1"/>
        </p:nvGrpSpPr>
        <p:grpSpPr>
          <a:xfrm>
            <a:off x="159315" y="144317"/>
            <a:ext cx="5267789" cy="638537"/>
            <a:chOff x="0" y="0"/>
            <a:chExt cx="3793402" cy="559435"/>
          </a:xfrm>
        </p:grpSpPr>
        <p:sp>
          <p:nvSpPr>
            <p:cNvPr id="3" name="Rectangle 2">
              <a:extLst>
                <a:ext uri="{FF2B5EF4-FFF2-40B4-BE49-F238E27FC236}">
                  <a16:creationId xmlns:a16="http://schemas.microsoft.com/office/drawing/2014/main" id="{CEE2A1EF-5E0F-6133-5F22-D2F8FE448BE6}"/>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4" name="Picture 3">
              <a:extLst>
                <a:ext uri="{FF2B5EF4-FFF2-40B4-BE49-F238E27FC236}">
                  <a16:creationId xmlns:a16="http://schemas.microsoft.com/office/drawing/2014/main" id="{B679AF60-A914-C7F9-CE72-D93C89E049D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5" name="Picture 4">
              <a:extLst>
                <a:ext uri="{FF2B5EF4-FFF2-40B4-BE49-F238E27FC236}">
                  <a16:creationId xmlns:a16="http://schemas.microsoft.com/office/drawing/2014/main" id="{0B81CACC-91FB-66E5-1BBB-17ABAD266478}"/>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6" name="Picture 5">
              <a:extLst>
                <a:ext uri="{FF2B5EF4-FFF2-40B4-BE49-F238E27FC236}">
                  <a16:creationId xmlns:a16="http://schemas.microsoft.com/office/drawing/2014/main" id="{EF3F2945-0234-4EC6-335F-23EE6BDF7D02}"/>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283833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PAGE AS 1">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6261AAFF-27D6-4C8A-89BA-4AAB5B14A5EB}"/>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14658"/>
          <a:stretch/>
        </p:blipFill>
        <p:spPr bwMode="auto">
          <a:xfrm>
            <a:off x="0" y="0"/>
            <a:ext cx="698131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465189D-0161-2690-8EB6-C76205F9EBFC}"/>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A15156EC-A839-7AD6-04CB-B069C0B044D9}"/>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5F34E7CA-CE61-FEC8-EF2C-403AF351672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86F1F580-966B-F5AD-1320-6CF76D2077FF}"/>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89F651E4-44CB-E1EF-C7CC-953381AF52CF}"/>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11659963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PAGE AS 2">
    <p:bg>
      <p:bgPr>
        <a:solidFill>
          <a:schemeClr val="bg1"/>
        </a:solidFill>
        <a:effectLst/>
      </p:bgPr>
    </p:bg>
    <p:spTree>
      <p:nvGrpSpPr>
        <p:cNvPr id="1" name=""/>
        <p:cNvGrpSpPr/>
        <p:nvPr/>
      </p:nvGrpSpPr>
      <p:grpSpPr>
        <a:xfrm>
          <a:off x="0" y="0"/>
          <a:ext cx="0" cy="0"/>
          <a:chOff x="0" y="0"/>
          <a:chExt cx="0" cy="0"/>
        </a:xfrm>
      </p:grpSpPr>
      <p:pic>
        <p:nvPicPr>
          <p:cNvPr id="51" name="Picture 10">
            <a:extLst>
              <a:ext uri="{FF2B5EF4-FFF2-40B4-BE49-F238E27FC236}">
                <a16:creationId xmlns:a16="http://schemas.microsoft.com/office/drawing/2014/main" id="{E573F0F9-CA34-4471-AB56-0F3FDE313E9D}"/>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4560"/>
          <a:stretch/>
        </p:blipFill>
        <p:spPr bwMode="auto">
          <a:xfrm>
            <a:off x="238" y="2606"/>
            <a:ext cx="721037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79B48FD4-C636-D21C-6736-011505A2773A}"/>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B1D882F3-929B-7F2A-77D4-7F9B9F0AC473}"/>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77D59EB9-0222-F9DB-29E1-659319A1A3D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7AFAF643-4D94-1A70-BF26-2DE352681940}"/>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BD238BFD-5C7B-CB54-873B-F518D1CD063B}"/>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8404155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PAGE AS 3">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9207E32E-B2C1-401E-91ED-289434AFCAA1}"/>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879475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3B0D3A44-932D-4331-9E10-E770625FF8D9}"/>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589" b="99761" l="0" r="43004">
                        <a14:foregroundMark x1="10914" y1="33971" x2="93" y2="58373"/>
                        <a14:foregroundMark x1="8209" y1="4306" x2="11567" y2="22249"/>
                        <a14:foregroundMark x1="11567" y1="22249" x2="11567" y2="22249"/>
                        <a14:foregroundMark x1="9515" y1="30144" x2="840" y2="49163"/>
                        <a14:foregroundMark x1="840" y1="49163" x2="653" y2="49282"/>
                        <a14:foregroundMark x1="6716" y1="81100" x2="38340" y2="96172"/>
                        <a14:foregroundMark x1="38340" y1="96172" x2="43190" y2="96890"/>
                        <a14:foregroundMark x1="3731" y1="81220" x2="35261" y2="87679"/>
                        <a14:foregroundMark x1="35261" y1="87679" x2="40299" y2="90311"/>
                        <a14:foregroundMark x1="41698" y1="95335" x2="43097" y2="98804"/>
                        <a14:foregroundMark x1="466" y1="94498" x2="33955" y2="96890"/>
                        <a14:foregroundMark x1="6996" y1="83612" x2="24813" y2="96890"/>
                        <a14:foregroundMark x1="29757" y1="98565" x2="37780" y2="99880"/>
                        <a14:foregroundMark x1="8116" y1="30981" x2="2332" y2="36842"/>
                        <a14:foregroundMark x1="15858" y1="41388" x2="19869" y2="49761"/>
                        <a14:foregroundMark x1="7090" y1="29067" x2="2519" y2="36483"/>
                        <a14:foregroundMark x1="2519" y1="36483" x2="2425" y2="36483"/>
                        <a14:foregroundMark x1="7183" y1="4904" x2="7463" y2="12321"/>
                        <a14:foregroundMark x1="9888" y1="3589" x2="10261" y2="7656"/>
                        <a14:foregroundMark x1="21549" y1="56699" x2="21642" y2="58254"/>
                        <a14:foregroundMark x1="27791" y1="80190" x2="28731" y2="80263"/>
                        <a14:foregroundMark x1="25653" y1="80024" x2="26429" y2="80084"/>
                        <a14:foregroundMark x1="26213" y1="79187" x2="26679" y2="79187"/>
                        <a14:foregroundMark x1="41643" y1="89136" x2="42631" y2="93660"/>
                        <a14:foregroundMark x1="33165" y1="84485" x2="34795" y2="85646"/>
                        <a14:foregroundMark x1="34235" y1="84211" x2="34235" y2="84211"/>
                        <a14:foregroundMark x1="34422" y1="84330" x2="34422" y2="84330"/>
                        <a14:foregroundMark x1="34608" y1="84330" x2="34608" y2="84330"/>
                        <a14:foregroundMark x1="33606" y1="84042" x2="34235" y2="84330"/>
                        <a14:backgroundMark x1="24347" y1="61005" x2="34142" y2="77512"/>
                        <a14:backgroundMark x1="34142" y1="77512" x2="35634" y2="77033"/>
                        <a14:backgroundMark x1="24907" y1="73923" x2="32649" y2="78110"/>
                        <a14:backgroundMark x1="32649" y1="78110" x2="33022" y2="78589"/>
                        <a14:backgroundMark x1="27266" y1="78004" x2="28731" y2="78230"/>
                        <a14:backgroundMark x1="26399" y1="77871" x2="26833" y2="77938"/>
                        <a14:backgroundMark x1="36332" y1="83997" x2="36660" y2="83971"/>
                        <a14:backgroundMark x1="6437" y1="24402" x2="373" y2="30861"/>
                        <a14:backgroundMark x1="373" y1="30861" x2="2146" y2="31579"/>
                        <a14:backgroundMark x1="560" y1="35048" x2="560" y2="36244"/>
                        <a14:backgroundMark x1="1119" y1="36244" x2="746" y2="37201"/>
                        <a14:backgroundMark x1="36474" y1="77632" x2="39086" y2="83373"/>
                        <a14:backgroundMark x1="41604" y1="86005" x2="42227" y2="87364"/>
                        <a14:backgroundMark x1="42257" y1="87321" x2="42537" y2="88876"/>
                        <a14:backgroundMark x1="33396" y1="81818" x2="40299" y2="82177"/>
                        <a14:backgroundMark x1="35443" y1="83852" x2="37407" y2="83852"/>
                        <a14:backgroundMark x1="33209" y1="81699" x2="33209" y2="81699"/>
                        <a14:backgroundMark x1="32929" y1="81699" x2="32929" y2="81699"/>
                        <a14:backgroundMark x1="32649" y1="81699" x2="32649" y2="81699"/>
                        <a14:backgroundMark x1="34422" y1="83732" x2="34422" y2="83732"/>
                        <a14:backgroundMark x1="31250" y1="80383" x2="32369" y2="82177"/>
                        <a14:backgroundMark x1="31903" y1="81699" x2="33675" y2="83971"/>
                        <a14:backgroundMark x1="27612" y1="78349" x2="28638" y2="78947"/>
                      </a14:backgroundRemoval>
                    </a14:imgEffect>
                  </a14:imgLayer>
                </a14:imgProps>
              </a:ext>
              <a:ext uri="{28A0092B-C50C-407E-A947-70E740481C1C}">
                <a14:useLocalDpi xmlns:a14="http://schemas.microsoft.com/office/drawing/2010/main" val="0"/>
              </a:ext>
            </a:extLst>
          </a:blip>
          <a:srcRect t="2565" r="55360"/>
          <a:stretch/>
        </p:blipFill>
        <p:spPr bwMode="auto">
          <a:xfrm>
            <a:off x="-27525" y="175886"/>
            <a:ext cx="4020928" cy="6707992"/>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956E9473-2548-2170-2964-117767E07F29}"/>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70B9BD01-D732-2BD3-A1D1-DF2FE3C6D0AC}"/>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D886544A-0965-E24C-4CBB-5E0479798E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3B0F394E-649C-E31F-DE95-E6FC26ECBDF8}"/>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EDB68D2-CBDA-C814-893D-1BEC3B8F83C2}"/>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71438103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PAGE AS 4">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20ADC257-02FB-4A7B-B271-AE9B32D1B3C1}"/>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81" y="0"/>
            <a:ext cx="807561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31C27CDD-E521-4D44-885E-AB87A77D4265}"/>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3531" b="98732" l="180" r="51706">
                        <a14:foregroundMark x1="21364" y1="13531" x2="15889" y2="37209"/>
                        <a14:foregroundMark x1="26391" y1="16490" x2="36266" y2="42495"/>
                        <a14:foregroundMark x1="36266" y1="42495" x2="36355" y2="43658"/>
                        <a14:foregroundMark x1="359" y1="29598" x2="15081" y2="30233"/>
                        <a14:foregroundMark x1="10682" y1="26321" x2="9246" y2="30550"/>
                        <a14:foregroundMark x1="21095" y1="29810" x2="24417" y2="36469"/>
                        <a14:foregroundMark x1="808" y1="65751" x2="3501" y2="98837"/>
                        <a14:foregroundMark x1="1077" y1="96617" x2="1077" y2="96617"/>
                        <a14:foregroundMark x1="19300" y1="91438" x2="41023" y2="93763"/>
                        <a14:foregroundMark x1="41023" y1="93763" x2="45781" y2="97252"/>
                        <a14:foregroundMark x1="27828" y1="97252" x2="38959" y2="97357"/>
                        <a14:foregroundMark x1="19659" y1="92600" x2="45601" y2="73467"/>
                        <a14:foregroundMark x1="45601" y1="73467" x2="50718" y2="66808"/>
                        <a14:foregroundMark x1="50718" y1="66808" x2="50987" y2="65751"/>
                        <a14:foregroundMark x1="48115" y1="73362" x2="44844" y2="82321"/>
                        <a14:foregroundMark x1="49372" y1="72622" x2="48333" y2="77592"/>
                        <a14:foregroundMark x1="49192" y1="75370" x2="49124" y2="76188"/>
                        <a14:foregroundMark x1="6732" y1="24630" x2="5386" y2="29493"/>
                        <a14:foregroundMark x1="359" y1="28330" x2="7361" y2="28858"/>
                        <a14:foregroundMark x1="31598" y1="76321" x2="36445" y2="71987"/>
                        <a14:foregroundMark x1="36445" y1="71987" x2="36445" y2="71987"/>
                        <a14:foregroundMark x1="51706" y1="65328" x2="51706" y2="65328"/>
                        <a14:foregroundMark x1="2693" y1="57082" x2="808" y2="66702"/>
                        <a14:foregroundMark x1="628" y1="57822" x2="1257" y2="64482"/>
                        <a14:foregroundMark x1="36715" y1="71036" x2="36715" y2="72727"/>
                        <a14:foregroundMark x1="29623" y1="44715" x2="29533" y2="46300"/>
                        <a14:foregroundMark x1="47038" y1="79070" x2="46409" y2="84567"/>
                        <a14:foregroundMark x1="45871" y1="84249" x2="40305" y2="86892"/>
                        <a14:foregroundMark x1="41293" y1="86469" x2="39677" y2="89218"/>
                        <a14:foregroundMark x1="48115" y1="79281" x2="48115" y2="79493"/>
                        <a14:foregroundMark x1="47127" y1="79493" x2="48115" y2="82030"/>
                        <a14:backgroundMark x1="16338" y1="69027" x2="45961" y2="57400"/>
                        <a14:backgroundMark x1="42255" y1="87987" x2="44704" y2="87421"/>
                        <a14:backgroundMark x1="16068" y1="66702" x2="34111" y2="60359"/>
                        <a14:backgroundMark x1="20916" y1="62579" x2="31329" y2="55074"/>
                        <a14:backgroundMark x1="31329" y1="55074" x2="36804" y2="46300"/>
                        <a14:backgroundMark x1="14632" y1="60571" x2="17594" y2="64482"/>
                        <a14:backgroundMark x1="18851" y1="73679" x2="23160" y2="78753"/>
                        <a14:backgroundMark x1="48474" y1="77907" x2="48474" y2="77907"/>
                        <a14:backgroundMark x1="48025" y1="77907" x2="49551" y2="78436"/>
                        <a14:backgroundMark x1="47756" y1="78013" x2="49192" y2="77484"/>
                        <a14:backgroundMark x1="48384" y1="77590" x2="48419" y2="78839"/>
                      </a14:backgroundRemoval>
                    </a14:imgEffect>
                  </a14:imgLayer>
                </a14:imgProps>
              </a:ext>
              <a:ext uri="{28A0092B-C50C-407E-A947-70E740481C1C}">
                <a14:useLocalDpi xmlns:a14="http://schemas.microsoft.com/office/drawing/2010/main" val="0"/>
              </a:ext>
            </a:extLst>
          </a:blip>
          <a:srcRect t="11969" r="45115"/>
          <a:stretch/>
        </p:blipFill>
        <p:spPr bwMode="auto">
          <a:xfrm>
            <a:off x="-9526" y="820852"/>
            <a:ext cx="4429125" cy="6046674"/>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313731B-2807-1FB9-5BA8-0CBBE800BF6F}"/>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3F8D2354-D0E1-D6B3-DFD5-B012C6761A03}"/>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E81F2608-3CD9-27C5-9E50-757617CE682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8EF28EE7-BB10-A215-8466-DF3EE4E0BC2C}"/>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799B81D-C347-9873-4092-2E439BF199EC}"/>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7149240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PAG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2" name="Slide Number Placeholder 1">
            <a:extLst>
              <a:ext uri="{FF2B5EF4-FFF2-40B4-BE49-F238E27FC236}">
                <a16:creationId xmlns:a16="http://schemas.microsoft.com/office/drawing/2014/main" id="{77B1E72D-2313-85B1-A527-7F099D9059C4}"/>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15123366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HANK YOU PAGE SA 1">
    <p:bg>
      <p:bgPr>
        <a:solidFill>
          <a:schemeClr val="bg1"/>
        </a:solidFill>
        <a:effectLst/>
      </p:bgPr>
    </p:bg>
    <p:spTree>
      <p:nvGrpSpPr>
        <p:cNvPr id="1" name=""/>
        <p:cNvGrpSpPr/>
        <p:nvPr/>
      </p:nvGrpSpPr>
      <p:grpSpPr>
        <a:xfrm>
          <a:off x="0" y="0"/>
          <a:ext cx="0" cy="0"/>
          <a:chOff x="0" y="0"/>
          <a:chExt cx="0" cy="0"/>
        </a:xfrm>
      </p:grpSpPr>
      <p:pic>
        <p:nvPicPr>
          <p:cNvPr id="51" name="Picture 4">
            <a:extLst>
              <a:ext uri="{FF2B5EF4-FFF2-40B4-BE49-F238E27FC236}">
                <a16:creationId xmlns:a16="http://schemas.microsoft.com/office/drawing/2014/main" id="{FA03A50D-6AE3-4A1A-82A4-F1160A10ADAE}"/>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22" y="0"/>
            <a:ext cx="700241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DE7D188-FF38-24EE-F23D-B3AB809E4F27}"/>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2B355AB6-D745-7DBC-AC72-ADB90B73F755}"/>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79A64920-F59B-D835-D40A-C640EC3A18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8FF40C6A-7EF8-5BD7-443E-EB140690718E}"/>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A07A7226-E1C8-6E70-6580-0D995858F39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80274728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HANK YOU PAGE SA 2">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1FD565F1-CE52-423C-837B-CE26808A5943}"/>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489" y="0"/>
            <a:ext cx="841789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a:extLst>
              <a:ext uri="{FF2B5EF4-FFF2-40B4-BE49-F238E27FC236}">
                <a16:creationId xmlns:a16="http://schemas.microsoft.com/office/drawing/2014/main" id="{DAA12FF9-FC73-42F4-A8C0-06B425D68C24}"/>
              </a:ext>
            </a:extLst>
          </p:cNvPr>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ackgroundRemoval t="9968" b="98928" l="29966" r="98485">
                        <a14:foregroundMark x1="58670" y1="21651" x2="60606" y2="30975"/>
                        <a14:foregroundMark x1="60606" y1="30975" x2="61195" y2="31940"/>
                        <a14:foregroundMark x1="62121" y1="32476" x2="67677" y2="50589"/>
                        <a14:foregroundMark x1="60859" y1="32797" x2="60774" y2="36549"/>
                        <a14:foregroundMark x1="59343" y1="34834" x2="59343" y2="34834"/>
                        <a14:foregroundMark x1="60185" y1="36013" x2="60185" y2="36013"/>
                        <a14:foregroundMark x1="70792" y1="86884" x2="70519" y2="87509"/>
                        <a14:foregroundMark x1="88300" y1="46838" x2="70840" y2="86774"/>
                        <a14:foregroundMark x1="71676" y1="88909" x2="75000" y2="88103"/>
                        <a14:foregroundMark x1="82660" y1="45766" x2="93182" y2="89496"/>
                        <a14:foregroundMark x1="96549" y1="48982" x2="92424" y2="84995"/>
                        <a14:foregroundMark x1="92424" y1="84995" x2="93687" y2="96677"/>
                        <a14:foregroundMark x1="93687" y1="96677" x2="95034" y2="98821"/>
                        <a14:foregroundMark x1="98401" y1="50375" x2="98485" y2="99035"/>
                        <a14:foregroundMark x1="71465" y1="10825" x2="81987" y2="60986"/>
                        <a14:foregroundMark x1="76936" y1="13076" x2="81734" y2="52840"/>
                        <a14:foregroundMark x1="83053" y1="32690" x2="83169" y2="33332"/>
                        <a14:foregroundMark x1="79798" y1="14684" x2="83053" y2="32690"/>
                        <a14:foregroundMark x1="67593" y1="11040" x2="76347" y2="60986"/>
                        <a14:foregroundMark x1="69192" y1="41050" x2="68098" y2="43087"/>
                        <a14:foregroundMark x1="39899" y1="85102" x2="29966" y2="87567"/>
                        <a14:backgroundMark x1="54293" y1="15541" x2="47391" y2="78778"/>
                        <a14:backgroundMark x1="54882" y1="26367" x2="59512" y2="71919"/>
                        <a14:backgroundMark x1="70034" y1="51661" x2="60774" y2="65380"/>
                        <a14:backgroundMark x1="83670" y1="40943" x2="83670" y2="40943"/>
                        <a14:backgroundMark x1="83586" y1="42122" x2="83586" y2="35906"/>
                        <a14:backgroundMark x1="83165" y1="33333" x2="85101" y2="43194"/>
                        <a14:backgroundMark x1="83249" y1="32690" x2="83249" y2="32690"/>
                        <a14:backgroundMark x1="83249" y1="33226" x2="83249" y2="33226"/>
                        <a14:backgroundMark x1="70455" y1="87460" x2="64057" y2="99250"/>
                        <a14:backgroundMark x1="57660" y1="93783" x2="56566" y2="94105"/>
                        <a14:backgroundMark x1="71633" y1="88639" x2="71633" y2="88639"/>
                        <a14:backgroundMark x1="71886" y1="89603" x2="71128" y2="87996"/>
                        <a14:backgroundMark x1="72054" y1="88853" x2="72054" y2="88853"/>
                        <a14:backgroundMark x1="71970" y1="89175" x2="71970" y2="89175"/>
                      </a14:backgroundRemoval>
                    </a14:imgEffect>
                  </a14:imgLayer>
                </a14:imgProps>
              </a:ext>
              <a:ext uri="{28A0092B-C50C-407E-A947-70E740481C1C}">
                <a14:useLocalDpi xmlns:a14="http://schemas.microsoft.com/office/drawing/2010/main"/>
              </a:ext>
            </a:extLst>
          </a:blip>
          <a:srcRect l="28235"/>
          <a:stretch/>
        </p:blipFill>
        <p:spPr bwMode="auto">
          <a:xfrm flipH="1">
            <a:off x="57" y="0"/>
            <a:ext cx="604105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44066E5-D485-B20E-23F8-BA538FE63B76}"/>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49677AD9-9927-112B-CD93-C6AB768024F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3DF400F2-D7CD-91AC-733C-6A8981AFFA0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572D95F7-9B10-7EDA-FDC0-CEA990E4EA51}"/>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6C5BA402-9DCA-F631-3606-27C1B80E3FCD}"/>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3143312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HANK YOU PAGE SA 3">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B7E2BD9D-D657-4CE8-842A-767172F34AEB}"/>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1968" y="0"/>
            <a:ext cx="728432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F7FBFF91-A105-41A9-866A-189BD0AE5F5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36" b="99466" l="65302" r="96520">
                        <a14:foregroundMark x1="96622" y1="59188" x2="96520" y2="61111"/>
                        <a14:foregroundMark x1="96622" y1="54701" x2="95906" y2="56944"/>
                        <a14:foregroundMark x1="82600" y1="24573" x2="80348" y2="27457"/>
                        <a14:foregroundMark x1="84749" y1="22436" x2="90276" y2="24038"/>
                        <a14:foregroundMark x1="67451" y1="63034" x2="65404" y2="64103"/>
                        <a14:foregroundMark x1="94063" y1="77350" x2="95906" y2="99466"/>
                        <a14:foregroundMark x1="78506" y1="83120" x2="73900" y2="98504"/>
                        <a14:foregroundMark x1="87206" y1="22650" x2="87206" y2="22650"/>
                        <a14:foregroundMark x1="87206" y1="22329" x2="85466" y2="22222"/>
                        <a14:backgroundMark x1="72979" y1="91239" x2="71341" y2="99573"/>
                        <a14:backgroundMark x1="85670" y1="21902" x2="85670" y2="21902"/>
                      </a14:backgroundRemoval>
                    </a14:imgEffect>
                  </a14:imgLayer>
                </a14:imgProps>
              </a:ext>
              <a:ext uri="{28A0092B-C50C-407E-A947-70E740481C1C}">
                <a14:useLocalDpi xmlns:a14="http://schemas.microsoft.com/office/drawing/2010/main" val="0"/>
              </a:ext>
            </a:extLst>
          </a:blip>
          <a:srcRect l="63474"/>
          <a:stretch/>
        </p:blipFill>
        <p:spPr bwMode="auto">
          <a:xfrm flipH="1">
            <a:off x="-35859" y="-46506"/>
            <a:ext cx="2680288" cy="690855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5395E863-A3EF-D95B-7F65-48640690A29A}"/>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A744D09A-5187-56BE-7D72-9F6BE0F9FAED}"/>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A22F0CA6-E966-6985-747C-5D86F04A2E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2FE152F9-2252-8A3A-18FB-6ADFBC10B0D1}"/>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6C848D06-76A6-E078-107B-2FAD2DA8C563}"/>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58062765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PAGE WE 1">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B84BBC7B-39A7-4D33-8578-775F6C133ECA}"/>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1"/>
            <a:ext cx="7130921" cy="686429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501CD296-9DE8-0DD0-ED29-DD2FC801FC13}"/>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8942E540-32B0-CE6B-C5AE-CF9C131B5556}"/>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E02450F8-DB8B-D76C-390E-9002ACB3DFB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4DABFD9C-B5FD-85C0-A1D2-A5E629515AC6}"/>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3EE9D180-B8AA-7965-70DA-C045045DCB31}"/>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31906903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ANK YOU PAGE WE 2">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18DE8AAD-FEFC-4530-86CB-BEBAEEEFC799}"/>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392" y="494278"/>
            <a:ext cx="7282925" cy="6363721"/>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FFC93946-E9C1-47E2-BDD7-231CD60BB7CC}"/>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299" b="99485" l="0" r="45405">
                        <a14:foregroundMark x1="17568" y1="3299" x2="24775" y2="15979"/>
                        <a14:foregroundMark x1="9550" y1="38454" x2="23604" y2="78144"/>
                        <a14:foregroundMark x1="23604" y1="78144" x2="37748" y2="99485"/>
                        <a14:foregroundMark x1="36757" y1="38041" x2="1081" y2="93299"/>
                        <a14:foregroundMark x1="7387" y1="39897" x2="631" y2="43402"/>
                        <a14:foregroundMark x1="631" y1="43402" x2="0" y2="44948"/>
                        <a14:foregroundMark x1="40360" y1="48454" x2="45405" y2="65464"/>
                        <a14:foregroundMark x1="34595" y1="70722" x2="35766" y2="82784"/>
                        <a14:foregroundMark x1="9730" y1="94742" x2="13423" y2="98866"/>
                        <a14:foregroundMark x1="13784" y1="14845" x2="23153" y2="22062"/>
                        <a14:foregroundMark x1="21712" y1="15567" x2="23243" y2="22371"/>
                        <a14:foregroundMark x1="12613" y1="14845" x2="15495" y2="21856"/>
                        <a14:foregroundMark x1="9009" y1="18557" x2="9550" y2="20412"/>
                        <a14:foregroundMark x1="10270" y1="23711" x2="10541" y2="24948"/>
                        <a14:foregroundMark x1="10028" y1="25361" x2="10090" y2="26495"/>
                        <a14:foregroundMark x1="10000" y1="24845" x2="10028" y2="25361"/>
                        <a14:foregroundMark x1="10541" y1="27010" x2="11622" y2="26701"/>
                        <a14:foregroundMark x1="25225" y1="24845" x2="25676" y2="26289"/>
                        <a14:foregroundMark x1="25315" y1="26082" x2="25045" y2="27320"/>
                        <a14:foregroundMark x1="11351" y1="25258" x2="11351" y2="25258"/>
                        <a14:foregroundMark x1="12162" y1="34845" x2="12162" y2="34845"/>
                        <a14:foregroundMark x1="12703" y1="34536" x2="12703" y2="34536"/>
                        <a14:foregroundMark x1="10360" y1="37835" x2="10360" y2="37835"/>
                        <a14:foregroundMark x1="27658" y1="36392" x2="27658" y2="36392"/>
                        <a14:backgroundMark x1="31171" y1="26392" x2="42342" y2="31959"/>
                        <a14:backgroundMark x1="30090" y1="35258" x2="30090" y2="35258"/>
                        <a14:backgroundMark x1="33153" y1="35670" x2="36757" y2="36495"/>
                        <a14:backgroundMark x1="25045" y1="26186" x2="25045" y2="26186"/>
                        <a14:backgroundMark x1="9820" y1="23711" x2="9820" y2="23711"/>
                        <a14:backgroundMark x1="10901" y1="25361" x2="10901" y2="25361"/>
                        <a14:backgroundMark x1="10721" y1="24845" x2="10721" y2="24845"/>
                        <a14:backgroundMark x1="12072" y1="34845" x2="12072" y2="34845"/>
                      </a14:backgroundRemoval>
                    </a14:imgEffect>
                  </a14:imgLayer>
                </a14:imgProps>
              </a:ext>
              <a:ext uri="{28A0092B-C50C-407E-A947-70E740481C1C}">
                <a14:useLocalDpi xmlns:a14="http://schemas.microsoft.com/office/drawing/2010/main" val="0"/>
              </a:ext>
            </a:extLst>
          </a:blip>
          <a:srcRect t="2565" r="53566"/>
          <a:stretch/>
        </p:blipFill>
        <p:spPr bwMode="auto">
          <a:xfrm>
            <a:off x="-9046" y="691342"/>
            <a:ext cx="3368018" cy="617527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93839574-F60F-6259-D762-368AD241B087}"/>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219B7B0B-735A-D3CA-3F53-27D2296D027A}"/>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9AD8455D-697D-7D0C-67A1-6E1FC6D3E33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457529CD-2909-A294-461E-F65FCE48DAF7}"/>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FDD2208-E8E6-6004-6709-DA174B630FDE}"/>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53094327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ANK YOU PAGE WE 3">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28B3ECE0-8905-43FD-8F36-C1CFE1BA276D}"/>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4501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79D23DAE-CA4D-43DB-81D3-233899ABDF9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9127" b="99688" l="96" r="38182">
                        <a14:foregroundMark x1="10622" y1="19127" x2="18182" y2="28586"/>
                        <a14:foregroundMark x1="17432" y1="19975" x2="22070" y2="29665"/>
                        <a14:foregroundMark x1="12057" y1="25572" x2="96" y2="49688"/>
                        <a14:foregroundMark x1="13110" y1="29210" x2="13397" y2="33472"/>
                        <a14:foregroundMark x1="27870" y1="30497" x2="24593" y2="74428"/>
                        <a14:foregroundMark x1="24593" y1="74428" x2="24593" y2="74428"/>
                        <a14:foregroundMark x1="31770" y1="48649" x2="33876" y2="63825"/>
                        <a14:foregroundMark x1="33876" y1="63825" x2="33493" y2="67048"/>
                        <a14:foregroundMark x1="29569" y1="58316" x2="28134" y2="69335"/>
                        <a14:foregroundMark x1="28134" y1="68295" x2="24880" y2="78067"/>
                        <a14:foregroundMark x1="24306" y1="71830" x2="23062" y2="88150"/>
                        <a14:foregroundMark x1="23062" y1="88150" x2="25167" y2="92827"/>
                        <a14:foregroundMark x1="11005" y1="84304" x2="6603" y2="96258"/>
                        <a14:foregroundMark x1="6603" y1="96258" x2="3158" y2="99792"/>
                        <a14:foregroundMark x1="4498" y1="81809" x2="3158" y2="96778"/>
                        <a14:foregroundMark x1="3158" y1="96778" x2="2871" y2="97505"/>
                        <a14:foregroundMark x1="9856" y1="94699" x2="19426" y2="98441"/>
                        <a14:foregroundMark x1="23349" y1="90333" x2="26411" y2="99896"/>
                        <a14:foregroundMark x1="24976" y1="92620" x2="28134" y2="99272"/>
                        <a14:foregroundMark x1="28134" y1="99272" x2="28134" y2="99272"/>
                        <a14:foregroundMark x1="27560" y1="85655" x2="27560" y2="85655"/>
                        <a14:foregroundMark x1="26603" y1="93555" x2="29187" y2="99896"/>
                        <a14:foregroundMark x1="34737" y1="33992" x2="38086" y2="35863"/>
                        <a14:foregroundMark x1="38182" y1="33160" x2="37608" y2="35551"/>
                        <a14:foregroundMark x1="36364" y1="32744" x2="37321" y2="33160"/>
                        <a14:foregroundMark x1="28038" y1="83992" x2="28038" y2="83992"/>
                        <a14:foregroundMark x1="28325" y1="68295" x2="31579" y2="72661"/>
                        <a14:backgroundMark x1="4402" y1="19751" x2="4211" y2="26403"/>
                        <a14:backgroundMark x1="15311" y1="18711" x2="17608" y2="19751"/>
                        <a14:backgroundMark x1="26316" y1="26299" x2="26603" y2="28690"/>
                        <a14:backgroundMark x1="26411" y1="27131" x2="23158" y2="30977"/>
                        <a14:backgroundMark x1="27368" y1="29210" x2="30144" y2="28690"/>
                        <a14:backgroundMark x1="20861" y1="34927" x2="20861" y2="34927"/>
                        <a14:backgroundMark x1="22105" y1="31913" x2="22105" y2="31913"/>
                        <a14:backgroundMark x1="4211" y1="30353" x2="4211" y2="30353"/>
                        <a14:backgroundMark x1="4306" y1="27651" x2="4306" y2="27651"/>
                        <a14:backgroundMark x1="4976" y1="25364" x2="4976" y2="27027"/>
                      </a14:backgroundRemoval>
                    </a14:imgEffect>
                  </a14:imgLayer>
                </a14:imgProps>
              </a:ext>
              <a:ext uri="{28A0092B-C50C-407E-A947-70E740481C1C}">
                <a14:useLocalDpi xmlns:a14="http://schemas.microsoft.com/office/drawing/2010/main" val="0"/>
              </a:ext>
            </a:extLst>
          </a:blip>
          <a:srcRect t="17576" r="59636"/>
          <a:stretch/>
        </p:blipFill>
        <p:spPr bwMode="auto">
          <a:xfrm>
            <a:off x="0" y="1205379"/>
            <a:ext cx="3007187" cy="565262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FD7D5F24-C35B-6373-41CD-53AB794BBB55}"/>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1CAC10F9-04C3-4CA0-A26B-304BFA589A3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3FD94297-1C7D-09C9-2815-9B5427A1A9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0F103A5C-8AC2-0458-2240-6F1261DDC158}"/>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C280925C-665E-8081-B3E8-BF6D9091CEBD}"/>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10966391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HANK YOU PAGE OTHER 1">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C902C83D-4C13-410D-8053-A68EDCD3CE3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638" y="-1"/>
            <a:ext cx="7961613" cy="686239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20ED1F78-DE7E-C48A-7E7A-3578C7F547C6}"/>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DB284B44-83A5-DD7D-614B-2A35A58B743B}"/>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3447E75B-10DA-8580-0CC2-91FD004B0CA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9DB78F60-E22C-F4F2-E1A5-07AC9F65BEF0}"/>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6C4CDA07-6A6A-9D2C-162F-793799FF0FAF}"/>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98432578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ANK YOU PAGE OTHER 2">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4C09028A-120A-4A2D-A0F6-8C6E56A3B367}"/>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76787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B13AD673-57C3-4D5B-8979-8AD868B5A0FA}"/>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0144" b="82297" l="107" r="62073">
                        <a14:foregroundMark x1="107" y1="47608" x2="1709" y2="56459"/>
                        <a14:foregroundMark x1="12738" y1="64682" x2="43590" y2="75957"/>
                        <a14:foregroundMark x1="2350" y1="60885" x2="4250" y2="61579"/>
                        <a14:foregroundMark x1="43590" y1="75957" x2="56517" y2="78230"/>
                        <a14:foregroundMark x1="5401" y1="64408" x2="13248" y2="82297"/>
                        <a14:foregroundMark x1="37607" y1="30263" x2="39957" y2="35526"/>
                        <a14:foregroundMark x1="58761" y1="38517" x2="58226" y2="41986"/>
                        <a14:foregroundMark x1="58994" y1="48565" x2="58974" y2="49880"/>
                        <a14:foregroundMark x1="59025" y1="46522" x2="59019" y2="46890"/>
                        <a14:foregroundMark x1="59081" y1="42823" x2="59062" y2="44106"/>
                        <a14:foregroundMark x1="60897" y1="52273" x2="60897" y2="58732"/>
                        <a14:foregroundMark x1="62073" y1="66148" x2="55769" y2="75239"/>
                        <a14:foregroundMark x1="55769" y1="75239" x2="55342" y2="75598"/>
                        <a14:foregroundMark x1="19017" y1="60287" x2="26068" y2="60526"/>
                        <a14:foregroundMark x1="26068" y1="60526" x2="35043" y2="60167"/>
                        <a14:foregroundMark x1="35043" y1="60167" x2="35470" y2="60048"/>
                        <a14:backgroundMark x1="3526" y1="48565" x2="6197" y2="57536"/>
                        <a14:backgroundMark x1="50962" y1="54067" x2="50855" y2="64952"/>
                        <a14:backgroundMark x1="50855" y1="64952" x2="50855" y2="64952"/>
                        <a14:backgroundMark x1="58761" y1="44019" x2="58226" y2="46292"/>
                        <a14:backgroundMark x1="58761" y1="46651" x2="58761" y2="46651"/>
                        <a14:backgroundMark x1="58761" y1="46890" x2="58761" y2="48565"/>
                        <a14:backgroundMark x1="534" y1="62919" x2="2350" y2="64833"/>
                        <a14:backgroundMark x1="4487" y1="63278" x2="5662" y2="64115"/>
                        <a14:backgroundMark x1="4060" y1="62560" x2="5342" y2="62679"/>
                        <a14:backgroundMark x1="5449" y1="64593" x2="5449" y2="64593"/>
                        <a14:backgroundMark x1="5983" y1="62201" x2="5449" y2="64474"/>
                        <a14:backgroundMark x1="6624" y1="62560" x2="11432" y2="63995"/>
                        <a14:backgroundMark x1="12714" y1="62201" x2="13782" y2="63995"/>
                        <a14:backgroundMark x1="14850" y1="63038" x2="20513" y2="63158"/>
                        <a14:backgroundMark x1="17968" y1="62097" x2="19444" y2="62201"/>
                        <a14:backgroundMark x1="21304" y1="62105" x2="21154" y2="62440"/>
                        <a14:backgroundMark x1="22543" y1="62081" x2="23397" y2="62799"/>
                        <a14:backgroundMark x1="26380" y1="62202" x2="26923" y2="63158"/>
                        <a14:backgroundMark x1="25852" y1="62259" x2="27671" y2="63278"/>
                        <a14:backgroundMark x1="29292" y1="62086" x2="30449" y2="62919"/>
                        <a14:backgroundMark x1="33883" y1="62253" x2="35363" y2="63038"/>
                        <a14:backgroundMark x1="34081" y1="63278" x2="35256" y2="63278"/>
                        <a14:backgroundMark x1="31554" y1="61996" x2="32372" y2="63278"/>
                        <a14:backgroundMark x1="31410" y1="62560" x2="31303" y2="63278"/>
                        <a14:backgroundMark x1="29382" y1="58705" x2="27671" y2="58254"/>
                        <a14:backgroundMark x1="38034" y1="57656" x2="36218" y2="58134"/>
                        <a14:backgroundMark x1="33120" y1="57416" x2="33120" y2="57416"/>
                        <a14:backgroundMark x1="47543" y1="65789" x2="48825" y2="68301"/>
                        <a14:backgroundMark x1="60791" y1="66148" x2="60791" y2="66148"/>
                        <a14:backgroundMark x1="40705" y1="65909" x2="41667" y2="67464"/>
                      </a14:backgroundRemoval>
                    </a14:imgEffect>
                  </a14:imgLayer>
                </a14:imgProps>
              </a:ext>
              <a:ext uri="{28A0092B-C50C-407E-A947-70E740481C1C}">
                <a14:useLocalDpi xmlns:a14="http://schemas.microsoft.com/office/drawing/2010/main" val="0"/>
              </a:ext>
            </a:extLst>
          </a:blip>
          <a:srcRect t="29007" r="33283" b="16293"/>
          <a:stretch/>
        </p:blipFill>
        <p:spPr bwMode="auto">
          <a:xfrm>
            <a:off x="1" y="1989252"/>
            <a:ext cx="5123072" cy="375135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073832" y="268219"/>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DC6DDF5-3750-C6D9-75BA-AD5A343ACEF7}"/>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9D936BC4-949D-89E2-5DA6-CEF87DA8B027}"/>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529C19F3-7DC2-6BA2-3F36-E0F12ED95DF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D8D3CD3E-C346-A25D-D6E7-3CEF80CB68F0}"/>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40BF4F1F-1A2A-9E4B-20CA-E2E5181E83F1}"/>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8101935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ANK YOU PAGE OTHER 3">
    <p:bg>
      <p:bgPr>
        <a:solidFill>
          <a:schemeClr val="bg1"/>
        </a:solidFill>
        <a:effectLst/>
      </p:bgPr>
    </p:bg>
    <p:spTree>
      <p:nvGrpSpPr>
        <p:cNvPr id="1" name=""/>
        <p:cNvGrpSpPr/>
        <p:nvPr/>
      </p:nvGrpSpPr>
      <p:grpSpPr>
        <a:xfrm>
          <a:off x="0" y="0"/>
          <a:ext cx="0" cy="0"/>
          <a:chOff x="0" y="0"/>
          <a:chExt cx="0" cy="0"/>
        </a:xfrm>
      </p:grpSpPr>
      <p:pic>
        <p:nvPicPr>
          <p:cNvPr id="51" name="Picture 2">
            <a:extLst>
              <a:ext uri="{FF2B5EF4-FFF2-40B4-BE49-F238E27FC236}">
                <a16:creationId xmlns:a16="http://schemas.microsoft.com/office/drawing/2014/main" id="{AC757853-035A-45B5-8E0E-9B9016F39CB9}"/>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827" y="0"/>
            <a:ext cx="697706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a:extLst>
              <a:ext uri="{FF2B5EF4-FFF2-40B4-BE49-F238E27FC236}">
                <a16:creationId xmlns:a16="http://schemas.microsoft.com/office/drawing/2014/main" id="{17A2D106-0FD4-4D4C-9B41-4C91A2F166F8}"/>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49826" b="99187" l="685" r="58904">
                        <a14:foregroundMark x1="15868" y1="49826" x2="16438" y2="51684"/>
                        <a14:foregroundMark x1="4680" y1="79559" x2="1027" y2="94774"/>
                        <a14:foregroundMark x1="8562" y1="96516" x2="31279" y2="99419"/>
                        <a14:foregroundMark x1="31279" y1="99419" x2="39612" y2="98490"/>
                        <a14:foregroundMark x1="45662" y1="98490" x2="47831" y2="98839"/>
                        <a14:foregroundMark x1="15639" y1="52846" x2="15639" y2="52846"/>
                        <a14:foregroundMark x1="18151" y1="50871" x2="18151" y2="50871"/>
                        <a14:foregroundMark x1="18151" y1="50871" x2="16553" y2="51916"/>
                        <a14:foregroundMark x1="55708" y1="54239" x2="55936" y2="61324"/>
                        <a14:foregroundMark x1="55936" y1="61324" x2="55936" y2="61324"/>
                        <a14:foregroundMark x1="57306" y1="57027" x2="58904" y2="61208"/>
                        <a14:backgroundMark x1="9247" y1="51336" x2="8904" y2="67131"/>
                        <a14:backgroundMark x1="26826" y1="53891" x2="42352" y2="66434"/>
                        <a14:backgroundMark x1="28653" y1="71429" x2="36644" y2="73055"/>
                        <a14:backgroundMark x1="28082" y1="71196" x2="28082" y2="71196"/>
                      </a14:backgroundRemoval>
                    </a14:imgEffect>
                  </a14:imgLayer>
                </a14:imgProps>
              </a:ext>
              <a:ext uri="{28A0092B-C50C-407E-A947-70E740481C1C}">
                <a14:useLocalDpi xmlns:a14="http://schemas.microsoft.com/office/drawing/2010/main" val="0"/>
              </a:ext>
            </a:extLst>
          </a:blip>
          <a:srcRect t="48125" r="49980" b="-1"/>
          <a:stretch/>
        </p:blipFill>
        <p:spPr bwMode="auto">
          <a:xfrm>
            <a:off x="-11668" y="3295973"/>
            <a:ext cx="3489895" cy="355757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E2296E8-2A9A-497C-9212-415FAB457D80}"/>
              </a:ext>
            </a:extLst>
          </p:cNvPr>
          <p:cNvSpPr txBox="1"/>
          <p:nvPr userDrawn="1"/>
        </p:nvSpPr>
        <p:spPr>
          <a:xfrm>
            <a:off x="5398488" y="5518513"/>
            <a:ext cx="6543563" cy="1098699"/>
          </a:xfrm>
          <a:prstGeom prst="rect">
            <a:avLst/>
          </a:prstGeom>
          <a:noFill/>
        </p:spPr>
        <p:txBody>
          <a:bodyPr wrap="square" rtlCol="0">
            <a:spAutoFit/>
          </a:bodyPr>
          <a:lstStyle/>
          <a:p>
            <a:pPr algn="r" defTabSz="914400" rtl="0" eaLnBrk="1" latinLnBrk="0" hangingPunct="1">
              <a:lnSpc>
                <a:spcPct val="90000"/>
              </a:lnSpc>
              <a:spcBef>
                <a:spcPct val="0"/>
              </a:spcBef>
              <a:buNone/>
            </a:pPr>
            <a:r>
              <a:rPr lang="en-US"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rPr>
              <a:t>THANK YOU FOR YOUR TIME AND ATTENTION</a:t>
            </a:r>
            <a:endParaRPr lang="nl-NL" sz="3600" b="1" kern="1200">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endParaRPr>
          </a:p>
        </p:txBody>
      </p:sp>
      <p:grpSp>
        <p:nvGrpSpPr>
          <p:cNvPr id="8" name="Group 7">
            <a:extLst>
              <a:ext uri="{FF2B5EF4-FFF2-40B4-BE49-F238E27FC236}">
                <a16:creationId xmlns:a16="http://schemas.microsoft.com/office/drawing/2014/main" id="{6A47A10B-ABB4-4293-AF81-5FA27A13750C}"/>
              </a:ext>
            </a:extLst>
          </p:cNvPr>
          <p:cNvGrpSpPr/>
          <p:nvPr userDrawn="1"/>
        </p:nvGrpSpPr>
        <p:grpSpPr>
          <a:xfrm>
            <a:off x="6105230" y="240788"/>
            <a:ext cx="5836821" cy="5088756"/>
            <a:chOff x="5836362" y="68074"/>
            <a:chExt cx="6083274" cy="5355263"/>
          </a:xfrm>
        </p:grpSpPr>
        <p:sp>
          <p:nvSpPr>
            <p:cNvPr id="9" name="Oval 8">
              <a:extLst>
                <a:ext uri="{FF2B5EF4-FFF2-40B4-BE49-F238E27FC236}">
                  <a16:creationId xmlns:a16="http://schemas.microsoft.com/office/drawing/2014/main" id="{505DD0D6-7F14-42FD-8FCF-DCAF698F95F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Circle: Hollow 9">
              <a:extLst>
                <a:ext uri="{FF2B5EF4-FFF2-40B4-BE49-F238E27FC236}">
                  <a16:creationId xmlns:a16="http://schemas.microsoft.com/office/drawing/2014/main" id="{303DFABB-72C8-4A78-B61B-B366D90069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4DACEF09-CA53-44A3-AF54-C491D8CACDB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Oval 11">
              <a:extLst>
                <a:ext uri="{FF2B5EF4-FFF2-40B4-BE49-F238E27FC236}">
                  <a16:creationId xmlns:a16="http://schemas.microsoft.com/office/drawing/2014/main" id="{9318AF5E-9E5F-43AD-B2CA-D67831D9D29B}"/>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97461BE-E58B-418F-A289-5305CCD1259A}"/>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4" name="Oval 13">
              <a:extLst>
                <a:ext uri="{FF2B5EF4-FFF2-40B4-BE49-F238E27FC236}">
                  <a16:creationId xmlns:a16="http://schemas.microsoft.com/office/drawing/2014/main" id="{855B1B3A-F11E-4A8E-AAD4-0151734DA14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ED40FE83-C88A-45C8-AA4B-8774C8A8D09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FA20B5CD-DA1E-4F74-8E93-F3186D1EBCA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085EFD18-8B40-4DCE-B1C1-56541386838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FDBD5A4B-9D27-4A8B-BA2B-4AB7E702054C}"/>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2D0EBEDD-2CCC-47CF-9618-2C297A8FCA7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Oval 19">
              <a:extLst>
                <a:ext uri="{FF2B5EF4-FFF2-40B4-BE49-F238E27FC236}">
                  <a16:creationId xmlns:a16="http://schemas.microsoft.com/office/drawing/2014/main" id="{023A43C1-2547-484D-9184-7DA273CB4A1E}"/>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Oval 20">
              <a:extLst>
                <a:ext uri="{FF2B5EF4-FFF2-40B4-BE49-F238E27FC236}">
                  <a16:creationId xmlns:a16="http://schemas.microsoft.com/office/drawing/2014/main" id="{ECA5B555-5544-49E4-BFF1-248AB63FB1CE}"/>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2" name="Oval 21">
              <a:extLst>
                <a:ext uri="{FF2B5EF4-FFF2-40B4-BE49-F238E27FC236}">
                  <a16:creationId xmlns:a16="http://schemas.microsoft.com/office/drawing/2014/main" id="{E0E2DD6E-BBFC-4E12-8366-9335AD84CD1D}"/>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3" name="Circle: Hollow 22">
              <a:extLst>
                <a:ext uri="{FF2B5EF4-FFF2-40B4-BE49-F238E27FC236}">
                  <a16:creationId xmlns:a16="http://schemas.microsoft.com/office/drawing/2014/main" id="{11CD12F6-DF74-4F1D-9E0C-A77F678F52E7}"/>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77D8170C-61FC-48E8-99BA-7A902E6BACE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6CC52045-A7E0-4C0A-8A1A-3DF8B88CAD3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A8A222F-9D17-479A-BD06-328A633876A3}"/>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642C168A-F0EE-49DB-AE50-828A30BC6E90}"/>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25EE08BC-3AF0-4943-ABC2-CAE31B79E270}"/>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FAF8C2AC-608E-4D81-A3A1-3E65E8D16C1B}"/>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884A48CD-AEBF-407B-A5E1-FC7C96F155D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A0B6C881-1EB6-4F8F-A315-8386169CC25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12DB23B6-AFB5-44BA-8F17-336FD1CA5F37}"/>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3" name="Oval 32">
              <a:extLst>
                <a:ext uri="{FF2B5EF4-FFF2-40B4-BE49-F238E27FC236}">
                  <a16:creationId xmlns:a16="http://schemas.microsoft.com/office/drawing/2014/main" id="{32A22BA6-7910-4F89-A7C1-B146A20F760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19B08304-86D0-4B9B-870C-9A3F5B1196D9}"/>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5D88B957-DE5A-4DF6-BBE6-41BDCB2CBC2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A60ED0B4-A7B9-43BE-822B-D6463F9C3693}"/>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6F675923-BC43-4A29-8223-BDB4F9D1163A}"/>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E6BDB9BF-3FF8-44F0-A324-3C4DFC11CB0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39" name="Oval 38">
              <a:extLst>
                <a:ext uri="{FF2B5EF4-FFF2-40B4-BE49-F238E27FC236}">
                  <a16:creationId xmlns:a16="http://schemas.microsoft.com/office/drawing/2014/main" id="{9635F3B4-B5EC-461A-BF0F-B2AEE727467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CB153B6F-8D3F-482E-A31A-E702C802BC37}"/>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838DCA97-9D4D-4AFE-AD67-17209EF31C55}"/>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CBAAE920-8047-444A-BFFE-3C9F4AC5A6AD}"/>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D0FD69B-4296-457D-94AD-031425071A1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4E29CF58-A3D8-4320-9FEE-E02293A86BD7}"/>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71FE1105-D891-4C4D-AEB2-17FD1945837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A070B7D-EB34-4FBD-AD2E-F038DFFECAFC}"/>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76D28375-8CA6-44A7-A615-BF52BB575D56}"/>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C83B5EC-8C0B-45F1-B303-E5CE820060FD}"/>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Circle: Hollow 48">
              <a:extLst>
                <a:ext uri="{FF2B5EF4-FFF2-40B4-BE49-F238E27FC236}">
                  <a16:creationId xmlns:a16="http://schemas.microsoft.com/office/drawing/2014/main" id="{B7595F5B-A1DE-4FA7-BF0F-4C1619E5D2D5}"/>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0" name="Circle: Hollow 49">
              <a:extLst>
                <a:ext uri="{FF2B5EF4-FFF2-40B4-BE49-F238E27FC236}">
                  <a16:creationId xmlns:a16="http://schemas.microsoft.com/office/drawing/2014/main" id="{52213853-0FD4-42C0-BFF8-EFAB87E11AE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29E8796-FC95-6BC3-1E19-93ACEA4DA383}"/>
              </a:ext>
            </a:extLst>
          </p:cNvPr>
          <p:cNvGrpSpPr/>
          <p:nvPr userDrawn="1"/>
        </p:nvGrpSpPr>
        <p:grpSpPr>
          <a:xfrm>
            <a:off x="159315" y="144317"/>
            <a:ext cx="5267789" cy="638537"/>
            <a:chOff x="0" y="0"/>
            <a:chExt cx="3793402" cy="559435"/>
          </a:xfrm>
        </p:grpSpPr>
        <p:sp>
          <p:nvSpPr>
            <p:cNvPr id="4" name="Rectangle 3">
              <a:extLst>
                <a:ext uri="{FF2B5EF4-FFF2-40B4-BE49-F238E27FC236}">
                  <a16:creationId xmlns:a16="http://schemas.microsoft.com/office/drawing/2014/main" id="{D735C7B8-DF3E-25CC-F453-C66C0469DA3E}"/>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5" name="Picture 4">
              <a:extLst>
                <a:ext uri="{FF2B5EF4-FFF2-40B4-BE49-F238E27FC236}">
                  <a16:creationId xmlns:a16="http://schemas.microsoft.com/office/drawing/2014/main" id="{BEEB1334-17B8-E102-1B83-CD31D91FAB5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6" name="Picture 5">
              <a:extLst>
                <a:ext uri="{FF2B5EF4-FFF2-40B4-BE49-F238E27FC236}">
                  <a16:creationId xmlns:a16="http://schemas.microsoft.com/office/drawing/2014/main" id="{4060789B-6A0A-C61C-85C7-6519B8F49536}"/>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7" name="Picture 6">
              <a:extLst>
                <a:ext uri="{FF2B5EF4-FFF2-40B4-BE49-F238E27FC236}">
                  <a16:creationId xmlns:a16="http://schemas.microsoft.com/office/drawing/2014/main" id="{AE2FFD02-160C-D7B1-B19D-AD7082A9B475}"/>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8291854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PLASHPAGE AF 2">
    <p:bg>
      <p:bgPr>
        <a:solidFill>
          <a:schemeClr val="bg1"/>
        </a:solidFill>
        <a:effectLst/>
      </p:bgPr>
    </p:bg>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AC8B736D-BE55-4CC1-AA19-C0883264D3B3}"/>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668" y="0"/>
            <a:ext cx="788103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
            <a:extLst>
              <a:ext uri="{FF2B5EF4-FFF2-40B4-BE49-F238E27FC236}">
                <a16:creationId xmlns:a16="http://schemas.microsoft.com/office/drawing/2014/main" id="{32358697-E1BE-4BC9-B487-F3AAF76A07CB}"/>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140" b="99482" l="55885" r="99477">
                        <a14:foregroundMark x1="89974" y1="2073" x2="91718" y2="27047"/>
                        <a14:foregroundMark x1="97384" y1="6943" x2="98131" y2="35469"/>
                        <a14:foregroundMark x1="98954" y1="64870" x2="90759" y2="99689"/>
                        <a14:foregroundMark x1="65475" y1="62280" x2="71752" y2="98342"/>
                        <a14:foregroundMark x1="99477" y1="98342" x2="92589" y2="98964"/>
                        <a14:foregroundMark x1="92589" y1="98964" x2="73147" y2="97409"/>
                        <a14:foregroundMark x1="73147" y1="97409" x2="62772" y2="97409"/>
                        <a14:foregroundMark x1="62772" y1="97409" x2="62249" y2="97824"/>
                        <a14:foregroundMark x1="93287" y1="76580" x2="81779" y2="89741"/>
                        <a14:foregroundMark x1="81779" y1="89741" x2="81430" y2="90052"/>
                        <a14:foregroundMark x1="65126" y1="65389" x2="57018" y2="83938"/>
                        <a14:foregroundMark x1="57018" y1="83938" x2="55972" y2="91399"/>
                        <a14:foregroundMark x1="55972" y1="91399" x2="56234" y2="93782"/>
                        <a14:foregroundMark x1="92851" y1="37409" x2="77855" y2="39275"/>
                        <a14:foregroundMark x1="85615" y1="48601" x2="84743" y2="53161"/>
                        <a14:foregroundMark x1="94159" y1="3212" x2="65737" y2="25596"/>
                        <a14:foregroundMark x1="85615" y1="1140" x2="67568" y2="16166"/>
                        <a14:foregroundMark x1="74106" y1="4456" x2="69137" y2="13368"/>
                        <a14:foregroundMark x1="70793" y1="7668" x2="66434" y2="18342"/>
                        <a14:foregroundMark x1="98169" y1="41347" x2="97472" y2="43212"/>
                        <a14:backgroundMark x1="99420" y1="42340" x2="99477" y2="45699"/>
                        <a14:backgroundMark x1="99303" y1="35440" x2="99414" y2="41966"/>
                        <a14:backgroundMark x1="99477" y1="45699" x2="95728" y2="60000"/>
                        <a14:backgroundMark x1="71578" y1="44870" x2="70445" y2="61658"/>
                        <a14:backgroundMark x1="70445" y1="61658" x2="71055" y2="63005"/>
                        <a14:backgroundMark x1="63644" y1="59482" x2="57890" y2="64663"/>
                        <a14:backgroundMark x1="53531" y1="92642" x2="53705" y2="97306"/>
                        <a14:backgroundMark x1="91020" y1="415" x2="86574" y2="829"/>
                        <a14:backgroundMark x1="83958" y1="0" x2="83173" y2="0"/>
                      </a14:backgroundRemoval>
                    </a14:imgEffect>
                  </a14:imgLayer>
                </a14:imgProps>
              </a:ext>
              <a:ext uri="{28A0092B-C50C-407E-A947-70E740481C1C}">
                <a14:useLocalDpi xmlns:a14="http://schemas.microsoft.com/office/drawing/2010/main" val="0"/>
              </a:ext>
            </a:extLst>
          </a:blip>
          <a:srcRect l="51893"/>
          <a:stretch/>
        </p:blipFill>
        <p:spPr bwMode="auto">
          <a:xfrm flipH="1">
            <a:off x="-6030" y="-16126"/>
            <a:ext cx="379131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55" name="Group 54">
            <a:extLst>
              <a:ext uri="{FF2B5EF4-FFF2-40B4-BE49-F238E27FC236}">
                <a16:creationId xmlns:a16="http://schemas.microsoft.com/office/drawing/2014/main" id="{B4AEC8F3-05D1-4FBF-BE72-97709EA1EAB0}"/>
              </a:ext>
            </a:extLst>
          </p:cNvPr>
          <p:cNvGrpSpPr/>
          <p:nvPr userDrawn="1"/>
        </p:nvGrpSpPr>
        <p:grpSpPr>
          <a:xfrm>
            <a:off x="6073832" y="268219"/>
            <a:ext cx="5836821" cy="5088756"/>
            <a:chOff x="5836362" y="68074"/>
            <a:chExt cx="6083274" cy="5355263"/>
          </a:xfrm>
        </p:grpSpPr>
        <p:sp>
          <p:nvSpPr>
            <p:cNvPr id="57" name="Oval 56">
              <a:extLst>
                <a:ext uri="{FF2B5EF4-FFF2-40B4-BE49-F238E27FC236}">
                  <a16:creationId xmlns:a16="http://schemas.microsoft.com/office/drawing/2014/main" id="{5AF443D3-F812-4F86-8B8E-E5816A3E1170}"/>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Circle: Hollow 57">
              <a:extLst>
                <a:ext uri="{FF2B5EF4-FFF2-40B4-BE49-F238E27FC236}">
                  <a16:creationId xmlns:a16="http://schemas.microsoft.com/office/drawing/2014/main" id="{9D95686D-A19F-4FBB-B1D5-3511D14F370D}"/>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9" name="Circle: Hollow 58">
              <a:extLst>
                <a:ext uri="{FF2B5EF4-FFF2-40B4-BE49-F238E27FC236}">
                  <a16:creationId xmlns:a16="http://schemas.microsoft.com/office/drawing/2014/main" id="{0BC42117-CDE5-46AC-8D46-B6332B460CB2}"/>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60" name="Oval 59">
              <a:extLst>
                <a:ext uri="{FF2B5EF4-FFF2-40B4-BE49-F238E27FC236}">
                  <a16:creationId xmlns:a16="http://schemas.microsoft.com/office/drawing/2014/main" id="{289C79DA-BCA2-4018-BEFB-181F9216520E}"/>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Circle: Hollow 60">
              <a:extLst>
                <a:ext uri="{FF2B5EF4-FFF2-40B4-BE49-F238E27FC236}">
                  <a16:creationId xmlns:a16="http://schemas.microsoft.com/office/drawing/2014/main" id="{D0EF23F0-FD20-46AA-AE67-872B404AB78D}"/>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62" name="Oval 61">
              <a:extLst>
                <a:ext uri="{FF2B5EF4-FFF2-40B4-BE49-F238E27FC236}">
                  <a16:creationId xmlns:a16="http://schemas.microsoft.com/office/drawing/2014/main" id="{27180E7E-8326-4795-9C6A-34CDD3858C60}"/>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Circle: Hollow 62">
              <a:extLst>
                <a:ext uri="{FF2B5EF4-FFF2-40B4-BE49-F238E27FC236}">
                  <a16:creationId xmlns:a16="http://schemas.microsoft.com/office/drawing/2014/main" id="{7A2CAE88-E9E1-4077-8B53-9B96F596121C}"/>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64" name="Oval 63">
              <a:extLst>
                <a:ext uri="{FF2B5EF4-FFF2-40B4-BE49-F238E27FC236}">
                  <a16:creationId xmlns:a16="http://schemas.microsoft.com/office/drawing/2014/main" id="{205D7D68-BCAA-475C-9132-75C2BA90D0D3}"/>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Circle: Hollow 69">
              <a:extLst>
                <a:ext uri="{FF2B5EF4-FFF2-40B4-BE49-F238E27FC236}">
                  <a16:creationId xmlns:a16="http://schemas.microsoft.com/office/drawing/2014/main" id="{A87B830C-E710-4D36-84CB-310EE9A5DBC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71" name="Circle: Hollow 70">
              <a:extLst>
                <a:ext uri="{FF2B5EF4-FFF2-40B4-BE49-F238E27FC236}">
                  <a16:creationId xmlns:a16="http://schemas.microsoft.com/office/drawing/2014/main" id="{E4239021-43E9-4E39-BB61-34836FF5D4DF}"/>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72" name="Oval 71">
              <a:extLst>
                <a:ext uri="{FF2B5EF4-FFF2-40B4-BE49-F238E27FC236}">
                  <a16:creationId xmlns:a16="http://schemas.microsoft.com/office/drawing/2014/main" id="{4E2E866C-1C81-4F83-9ECD-A95CA4EACA2B}"/>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3" name="Oval 72">
              <a:extLst>
                <a:ext uri="{FF2B5EF4-FFF2-40B4-BE49-F238E27FC236}">
                  <a16:creationId xmlns:a16="http://schemas.microsoft.com/office/drawing/2014/main" id="{7996A0E6-0698-4B03-9301-CE77ECF355A2}"/>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Oval 73">
              <a:extLst>
                <a:ext uri="{FF2B5EF4-FFF2-40B4-BE49-F238E27FC236}">
                  <a16:creationId xmlns:a16="http://schemas.microsoft.com/office/drawing/2014/main" id="{423C7B6A-0681-4B1A-8B44-A11B7439F952}"/>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75" name="Oval 74">
              <a:extLst>
                <a:ext uri="{FF2B5EF4-FFF2-40B4-BE49-F238E27FC236}">
                  <a16:creationId xmlns:a16="http://schemas.microsoft.com/office/drawing/2014/main" id="{803A0765-3ED3-4F89-85B1-D7729A7C40F7}"/>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76" name="Circle: Hollow 75">
              <a:extLst>
                <a:ext uri="{FF2B5EF4-FFF2-40B4-BE49-F238E27FC236}">
                  <a16:creationId xmlns:a16="http://schemas.microsoft.com/office/drawing/2014/main" id="{4BCE93E5-A965-4373-99A7-D17DF7539F9E}"/>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77" name="Oval 76">
              <a:extLst>
                <a:ext uri="{FF2B5EF4-FFF2-40B4-BE49-F238E27FC236}">
                  <a16:creationId xmlns:a16="http://schemas.microsoft.com/office/drawing/2014/main" id="{46ADE4A9-D827-4A98-8D6C-8838DD08CD93}"/>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8" name="Oval 77">
              <a:extLst>
                <a:ext uri="{FF2B5EF4-FFF2-40B4-BE49-F238E27FC236}">
                  <a16:creationId xmlns:a16="http://schemas.microsoft.com/office/drawing/2014/main" id="{228C071F-6C60-4B47-AA35-8E40B99D3DD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9" name="Oval 78">
              <a:extLst>
                <a:ext uri="{FF2B5EF4-FFF2-40B4-BE49-F238E27FC236}">
                  <a16:creationId xmlns:a16="http://schemas.microsoft.com/office/drawing/2014/main" id="{AE973C1F-8FED-4F0C-AB64-EA956CDA9DE9}"/>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0" name="Oval 79">
              <a:extLst>
                <a:ext uri="{FF2B5EF4-FFF2-40B4-BE49-F238E27FC236}">
                  <a16:creationId xmlns:a16="http://schemas.microsoft.com/office/drawing/2014/main" id="{09376B53-447E-4EF8-B52E-4BAC39A6B323}"/>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1" name="Oval 80">
              <a:extLst>
                <a:ext uri="{FF2B5EF4-FFF2-40B4-BE49-F238E27FC236}">
                  <a16:creationId xmlns:a16="http://schemas.microsoft.com/office/drawing/2014/main" id="{B065B701-D4C7-4A88-BE4B-2A3128D06C0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2" name="Oval 81">
              <a:extLst>
                <a:ext uri="{FF2B5EF4-FFF2-40B4-BE49-F238E27FC236}">
                  <a16:creationId xmlns:a16="http://schemas.microsoft.com/office/drawing/2014/main" id="{A36E6813-6D61-4890-9A81-5F309F685111}"/>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3" name="Oval 82">
              <a:extLst>
                <a:ext uri="{FF2B5EF4-FFF2-40B4-BE49-F238E27FC236}">
                  <a16:creationId xmlns:a16="http://schemas.microsoft.com/office/drawing/2014/main" id="{DE020CDE-4B09-4F5E-965A-53B2846D55F7}"/>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4" name="Oval 83">
              <a:extLst>
                <a:ext uri="{FF2B5EF4-FFF2-40B4-BE49-F238E27FC236}">
                  <a16:creationId xmlns:a16="http://schemas.microsoft.com/office/drawing/2014/main" id="{AC2F2CC2-5529-420E-802F-F4E925BBF730}"/>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5" name="Oval 84">
              <a:extLst>
                <a:ext uri="{FF2B5EF4-FFF2-40B4-BE49-F238E27FC236}">
                  <a16:creationId xmlns:a16="http://schemas.microsoft.com/office/drawing/2014/main" id="{D047EC91-B556-402C-8514-70DE3338CA61}"/>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86" name="Oval 85">
              <a:extLst>
                <a:ext uri="{FF2B5EF4-FFF2-40B4-BE49-F238E27FC236}">
                  <a16:creationId xmlns:a16="http://schemas.microsoft.com/office/drawing/2014/main" id="{15431908-CAEB-487F-AAC8-7EC86ABB2E3C}"/>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7" name="Oval 86">
              <a:extLst>
                <a:ext uri="{FF2B5EF4-FFF2-40B4-BE49-F238E27FC236}">
                  <a16:creationId xmlns:a16="http://schemas.microsoft.com/office/drawing/2014/main" id="{70A783DD-81C3-4A0A-AF3A-82D891E405DE}"/>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8" name="Oval 87">
              <a:extLst>
                <a:ext uri="{FF2B5EF4-FFF2-40B4-BE49-F238E27FC236}">
                  <a16:creationId xmlns:a16="http://schemas.microsoft.com/office/drawing/2014/main" id="{C99D31CB-3C8B-41E7-BEAB-81EE3C479C3C}"/>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9" name="Oval 88">
              <a:extLst>
                <a:ext uri="{FF2B5EF4-FFF2-40B4-BE49-F238E27FC236}">
                  <a16:creationId xmlns:a16="http://schemas.microsoft.com/office/drawing/2014/main" id="{276720E2-78DC-4F58-AC67-70B501421FD9}"/>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0" name="Oval 89">
              <a:extLst>
                <a:ext uri="{FF2B5EF4-FFF2-40B4-BE49-F238E27FC236}">
                  <a16:creationId xmlns:a16="http://schemas.microsoft.com/office/drawing/2014/main" id="{B9BA35A9-CF0D-4E0B-8E3E-D997CD01A67F}"/>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1" name="Oval 90">
              <a:extLst>
                <a:ext uri="{FF2B5EF4-FFF2-40B4-BE49-F238E27FC236}">
                  <a16:creationId xmlns:a16="http://schemas.microsoft.com/office/drawing/2014/main" id="{97D30F32-E6BF-43FD-9053-EA8B82534CFC}"/>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92" name="Oval 91">
              <a:extLst>
                <a:ext uri="{FF2B5EF4-FFF2-40B4-BE49-F238E27FC236}">
                  <a16:creationId xmlns:a16="http://schemas.microsoft.com/office/drawing/2014/main" id="{30B965F0-94B9-4302-9215-DAA8D3A5EAC6}"/>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3" name="Oval 92">
              <a:extLst>
                <a:ext uri="{FF2B5EF4-FFF2-40B4-BE49-F238E27FC236}">
                  <a16:creationId xmlns:a16="http://schemas.microsoft.com/office/drawing/2014/main" id="{F8466486-0388-4E26-9B61-AA12DAF8B5D3}"/>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4" name="Oval 93">
              <a:extLst>
                <a:ext uri="{FF2B5EF4-FFF2-40B4-BE49-F238E27FC236}">
                  <a16:creationId xmlns:a16="http://schemas.microsoft.com/office/drawing/2014/main" id="{074545C7-8F3A-400E-9FCA-2159F6E29D97}"/>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5" name="Oval 94">
              <a:extLst>
                <a:ext uri="{FF2B5EF4-FFF2-40B4-BE49-F238E27FC236}">
                  <a16:creationId xmlns:a16="http://schemas.microsoft.com/office/drawing/2014/main" id="{78A0446C-8D9E-46A9-8102-8C9F30E180AC}"/>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6" name="Oval 95">
              <a:extLst>
                <a:ext uri="{FF2B5EF4-FFF2-40B4-BE49-F238E27FC236}">
                  <a16:creationId xmlns:a16="http://schemas.microsoft.com/office/drawing/2014/main" id="{0344245E-D03F-402E-A49C-6BABDD179383}"/>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7" name="Oval 96">
              <a:extLst>
                <a:ext uri="{FF2B5EF4-FFF2-40B4-BE49-F238E27FC236}">
                  <a16:creationId xmlns:a16="http://schemas.microsoft.com/office/drawing/2014/main" id="{D1892B87-E656-4A94-A5A5-6EE6E6A31A3D}"/>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8" name="Oval 97">
              <a:extLst>
                <a:ext uri="{FF2B5EF4-FFF2-40B4-BE49-F238E27FC236}">
                  <a16:creationId xmlns:a16="http://schemas.microsoft.com/office/drawing/2014/main" id="{84217071-D59E-46B8-BFFA-AAA62024AB28}"/>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9" name="Oval 98">
              <a:extLst>
                <a:ext uri="{FF2B5EF4-FFF2-40B4-BE49-F238E27FC236}">
                  <a16:creationId xmlns:a16="http://schemas.microsoft.com/office/drawing/2014/main" id="{80CD4824-C6A6-452F-9229-1A42C666E901}"/>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0" name="Oval 99">
              <a:extLst>
                <a:ext uri="{FF2B5EF4-FFF2-40B4-BE49-F238E27FC236}">
                  <a16:creationId xmlns:a16="http://schemas.microsoft.com/office/drawing/2014/main" id="{EE7198A6-F01F-42DB-B952-E057D3A469C3}"/>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1" name="Oval 100">
              <a:extLst>
                <a:ext uri="{FF2B5EF4-FFF2-40B4-BE49-F238E27FC236}">
                  <a16:creationId xmlns:a16="http://schemas.microsoft.com/office/drawing/2014/main" id="{0493F4AA-9AB1-4B4D-95AE-AC30D0DF1869}"/>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2" name="Circle: Hollow 101">
              <a:extLst>
                <a:ext uri="{FF2B5EF4-FFF2-40B4-BE49-F238E27FC236}">
                  <a16:creationId xmlns:a16="http://schemas.microsoft.com/office/drawing/2014/main" id="{6EF5040E-82CE-4E1D-877E-3CBD1AD8497E}"/>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03" name="Circle: Hollow 102">
              <a:extLst>
                <a:ext uri="{FF2B5EF4-FFF2-40B4-BE49-F238E27FC236}">
                  <a16:creationId xmlns:a16="http://schemas.microsoft.com/office/drawing/2014/main" id="{09BEAE28-30DA-4255-9EFE-16682F31BAC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DB51E713-9505-E355-6810-9870EC770376}"/>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C6C7FE48-FF00-459A-7AE6-E100ED8257A1}"/>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1DA72651-6438-02D8-07C6-0EEFF946783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111EB31F-3938-40BB-5ED6-AC3789D161A5}"/>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C898D12F-0B21-6CCF-0BF2-2F3AF3C8E309}"/>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3718904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BJECTIVES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5D2294D-DE6D-4282-AF4F-F8416F106F81}"/>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5" name="Oval 4">
            <a:extLst>
              <a:ext uri="{FF2B5EF4-FFF2-40B4-BE49-F238E27FC236}">
                <a16:creationId xmlns:a16="http://schemas.microsoft.com/office/drawing/2014/main" id="{11CD8C8C-63CF-4943-89D3-B5BCA0F16C98}"/>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Circle: Hollow 5">
            <a:extLst>
              <a:ext uri="{FF2B5EF4-FFF2-40B4-BE49-F238E27FC236}">
                <a16:creationId xmlns:a16="http://schemas.microsoft.com/office/drawing/2014/main" id="{77FBCCC6-2047-406D-B33D-317698474BB6}"/>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7" name="Circle: Hollow 6">
            <a:extLst>
              <a:ext uri="{FF2B5EF4-FFF2-40B4-BE49-F238E27FC236}">
                <a16:creationId xmlns:a16="http://schemas.microsoft.com/office/drawing/2014/main" id="{12D982B6-0289-439C-A43F-7FF6B3744AD9}"/>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8" name="Picture Placeholder 2">
            <a:extLst>
              <a:ext uri="{FF2B5EF4-FFF2-40B4-BE49-F238E27FC236}">
                <a16:creationId xmlns:a16="http://schemas.microsoft.com/office/drawing/2014/main" id="{FEB8FEBE-B61F-4667-AB15-3E01E9EFF369}"/>
              </a:ext>
            </a:extLst>
          </p:cNvPr>
          <p:cNvSpPr>
            <a:spLocks noGrp="1" noChangeAspect="1"/>
          </p:cNvSpPr>
          <p:nvPr>
            <p:ph type="pic" sz="quarter" idx="13"/>
          </p:nvPr>
        </p:nvSpPr>
        <p:spPr>
          <a:xfrm>
            <a:off x="8654777" y="-346796"/>
            <a:ext cx="3892823" cy="3892823"/>
          </a:xfrm>
          <a:prstGeom prst="ellipse">
            <a:avLst/>
          </a:prstGeom>
          <a:ln>
            <a:noFill/>
          </a:ln>
        </p:spPr>
        <p:txBody>
          <a:bodyPr/>
          <a:lstStyle/>
          <a:p>
            <a:endParaRPr lang="nl-NL"/>
          </a:p>
        </p:txBody>
      </p:sp>
      <p:sp>
        <p:nvSpPr>
          <p:cNvPr id="16" name="Text Placeholder 5">
            <a:extLst>
              <a:ext uri="{FF2B5EF4-FFF2-40B4-BE49-F238E27FC236}">
                <a16:creationId xmlns:a16="http://schemas.microsoft.com/office/drawing/2014/main" id="{543B43F8-9408-4DE6-ADB1-0F55458A9A22}"/>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1</a:t>
            </a:r>
          </a:p>
        </p:txBody>
      </p:sp>
      <p:sp>
        <p:nvSpPr>
          <p:cNvPr id="17" name="Text Placeholder 5">
            <a:extLst>
              <a:ext uri="{FF2B5EF4-FFF2-40B4-BE49-F238E27FC236}">
                <a16:creationId xmlns:a16="http://schemas.microsoft.com/office/drawing/2014/main" id="{94772D6F-1FC4-4476-A44A-08C36474BFAC}"/>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2</a:t>
            </a:r>
          </a:p>
        </p:txBody>
      </p:sp>
      <p:sp>
        <p:nvSpPr>
          <p:cNvPr id="18" name="Text Placeholder 5">
            <a:extLst>
              <a:ext uri="{FF2B5EF4-FFF2-40B4-BE49-F238E27FC236}">
                <a16:creationId xmlns:a16="http://schemas.microsoft.com/office/drawing/2014/main" id="{512809E2-9DA5-447E-955E-34FB70D95FD4}"/>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3</a:t>
            </a:r>
          </a:p>
        </p:txBody>
      </p:sp>
      <p:sp>
        <p:nvSpPr>
          <p:cNvPr id="19" name="Text Placeholder 5">
            <a:extLst>
              <a:ext uri="{FF2B5EF4-FFF2-40B4-BE49-F238E27FC236}">
                <a16:creationId xmlns:a16="http://schemas.microsoft.com/office/drawing/2014/main" id="{B7A3AD81-254E-4701-8E10-052F58E25B96}"/>
              </a:ext>
            </a:extLst>
          </p:cNvPr>
          <p:cNvSpPr>
            <a:spLocks noGrp="1"/>
          </p:cNvSpPr>
          <p:nvPr>
            <p:ph type="body" sz="quarter" idx="14" hasCustomPrompt="1"/>
          </p:nvPr>
        </p:nvSpPr>
        <p:spPr>
          <a:xfrm>
            <a:off x="512169" y="4876200"/>
            <a:ext cx="8003183" cy="914400"/>
          </a:xfrm>
          <a:prstGeom prst="rect">
            <a:avLst/>
          </a:prstGeom>
        </p:spPr>
        <p:txBody>
          <a:bodyPr/>
          <a:lstStyle>
            <a:lvl1pPr marL="0" indent="0">
              <a:buNone/>
              <a:defRPr>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4</a:t>
            </a:r>
          </a:p>
        </p:txBody>
      </p:sp>
      <p:sp>
        <p:nvSpPr>
          <p:cNvPr id="21" name="TextBox 20">
            <a:extLst>
              <a:ext uri="{FF2B5EF4-FFF2-40B4-BE49-F238E27FC236}">
                <a16:creationId xmlns:a16="http://schemas.microsoft.com/office/drawing/2014/main" id="{90FA61AE-BB1F-440B-B9B9-EEF289294A6B}"/>
              </a:ext>
            </a:extLst>
          </p:cNvPr>
          <p:cNvSpPr txBox="1"/>
          <p:nvPr userDrawn="1"/>
        </p:nvSpPr>
        <p:spPr>
          <a:xfrm>
            <a:off x="512169" y="1425240"/>
            <a:ext cx="7369325" cy="523220"/>
          </a:xfrm>
          <a:prstGeom prst="rect">
            <a:avLst/>
          </a:prstGeom>
          <a:noFill/>
        </p:spPr>
        <p:txBody>
          <a:bodyPr wrap="none" rtlCol="0">
            <a:spAutoFit/>
          </a:bodyPr>
          <a:lstStyle/>
          <a:p>
            <a:r>
              <a:rPr lang="nl-NL" sz="2800" b="1">
                <a:latin typeface="Ink Free" panose="03080402000500000000" pitchFamily="66" charset="0"/>
              </a:rPr>
              <a:t>By the end of this workshop you will be able to:</a:t>
            </a:r>
          </a:p>
        </p:txBody>
      </p:sp>
      <p:sp>
        <p:nvSpPr>
          <p:cNvPr id="22" name="TextBox 21">
            <a:extLst>
              <a:ext uri="{FF2B5EF4-FFF2-40B4-BE49-F238E27FC236}">
                <a16:creationId xmlns:a16="http://schemas.microsoft.com/office/drawing/2014/main" id="{F50D9795-89E4-442A-AB07-DB9973DB0C26}"/>
              </a:ext>
            </a:extLst>
          </p:cNvPr>
          <p:cNvSpPr txBox="1"/>
          <p:nvPr userDrawn="1"/>
        </p:nvSpPr>
        <p:spPr>
          <a:xfrm>
            <a:off x="179783" y="192389"/>
            <a:ext cx="4556055"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2" name="Slide Number Placeholder 1">
            <a:extLst>
              <a:ext uri="{FF2B5EF4-FFF2-40B4-BE49-F238E27FC236}">
                <a16:creationId xmlns:a16="http://schemas.microsoft.com/office/drawing/2014/main" id="{9E491176-312E-0737-E37F-3EDBC8406C43}"/>
              </a:ext>
            </a:extLst>
          </p:cNvPr>
          <p:cNvSpPr>
            <a:spLocks noGrp="1"/>
          </p:cNvSpPr>
          <p:nvPr>
            <p:ph type="sldNum" sz="quarter" idx="15"/>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646542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BJECTIVES PAGE">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2" name="Picture 31" descr="Shape, circle&#10;&#10;Description automatically generated">
            <a:extLst>
              <a:ext uri="{FF2B5EF4-FFF2-40B4-BE49-F238E27FC236}">
                <a16:creationId xmlns:a16="http://schemas.microsoft.com/office/drawing/2014/main" id="{1E14698F-2DFE-4ABC-8776-F961CD13BF3C}"/>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6" name="Text Placeholder 5">
            <a:extLst>
              <a:ext uri="{FF2B5EF4-FFF2-40B4-BE49-F238E27FC236}">
                <a16:creationId xmlns:a16="http://schemas.microsoft.com/office/drawing/2014/main" id="{7378D8CD-C3E3-4637-8184-7FC938EE9CFF}"/>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1</a:t>
            </a:r>
          </a:p>
        </p:txBody>
      </p:sp>
      <p:sp>
        <p:nvSpPr>
          <p:cNvPr id="33" name="Text Placeholder 5">
            <a:extLst>
              <a:ext uri="{FF2B5EF4-FFF2-40B4-BE49-F238E27FC236}">
                <a16:creationId xmlns:a16="http://schemas.microsoft.com/office/drawing/2014/main" id="{5B6B688A-4321-4967-ADCE-3DD62CCF28D1}"/>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2</a:t>
            </a:r>
          </a:p>
        </p:txBody>
      </p:sp>
      <p:sp>
        <p:nvSpPr>
          <p:cNvPr id="34" name="Text Placeholder 5">
            <a:extLst>
              <a:ext uri="{FF2B5EF4-FFF2-40B4-BE49-F238E27FC236}">
                <a16:creationId xmlns:a16="http://schemas.microsoft.com/office/drawing/2014/main" id="{10A46619-F1F2-43A8-85D6-A1D7F402C17E}"/>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3</a:t>
            </a:r>
          </a:p>
        </p:txBody>
      </p:sp>
      <p:sp>
        <p:nvSpPr>
          <p:cNvPr id="35" name="Text Placeholder 5">
            <a:extLst>
              <a:ext uri="{FF2B5EF4-FFF2-40B4-BE49-F238E27FC236}">
                <a16:creationId xmlns:a16="http://schemas.microsoft.com/office/drawing/2014/main" id="{A04A0385-DE7C-4017-A042-7DF11670E515}"/>
              </a:ext>
            </a:extLst>
          </p:cNvPr>
          <p:cNvSpPr>
            <a:spLocks noGrp="1"/>
          </p:cNvSpPr>
          <p:nvPr>
            <p:ph type="body" sz="quarter" idx="13"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4</a:t>
            </a:r>
          </a:p>
        </p:txBody>
      </p:sp>
      <p:sp>
        <p:nvSpPr>
          <p:cNvPr id="36" name="TextBox 35">
            <a:extLst>
              <a:ext uri="{FF2B5EF4-FFF2-40B4-BE49-F238E27FC236}">
                <a16:creationId xmlns:a16="http://schemas.microsoft.com/office/drawing/2014/main" id="{AD590678-8D03-4720-9986-71EBEAE6C458}"/>
              </a:ext>
            </a:extLst>
          </p:cNvPr>
          <p:cNvSpPr txBox="1"/>
          <p:nvPr userDrawn="1"/>
        </p:nvSpPr>
        <p:spPr>
          <a:xfrm>
            <a:off x="179783" y="192389"/>
            <a:ext cx="4556055"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7" name="TextBox 36">
            <a:extLst>
              <a:ext uri="{FF2B5EF4-FFF2-40B4-BE49-F238E27FC236}">
                <a16:creationId xmlns:a16="http://schemas.microsoft.com/office/drawing/2014/main" id="{1F9277E1-AD60-4D2D-BE69-54968C565961}"/>
              </a:ext>
            </a:extLst>
          </p:cNvPr>
          <p:cNvSpPr txBox="1"/>
          <p:nvPr userDrawn="1"/>
        </p:nvSpPr>
        <p:spPr>
          <a:xfrm>
            <a:off x="512169" y="1425240"/>
            <a:ext cx="7534435" cy="523220"/>
          </a:xfrm>
          <a:prstGeom prst="rect">
            <a:avLst/>
          </a:prstGeom>
          <a:noFill/>
        </p:spPr>
        <p:txBody>
          <a:bodyPr wrap="none" rtlCol="0">
            <a:spAutoFit/>
          </a:bodyPr>
          <a:lstStyle/>
          <a:p>
            <a:r>
              <a:rPr lang="nl-NL" sz="2800" b="1">
                <a:latin typeface="Ink Free" panose="03080402000500000000" pitchFamily="66" charset="0"/>
              </a:rPr>
              <a:t>By then end of this workshop you will be able to:</a:t>
            </a:r>
          </a:p>
        </p:txBody>
      </p:sp>
      <p:sp>
        <p:nvSpPr>
          <p:cNvPr id="2" name="Slide Number Placeholder 1">
            <a:extLst>
              <a:ext uri="{FF2B5EF4-FFF2-40B4-BE49-F238E27FC236}">
                <a16:creationId xmlns:a16="http://schemas.microsoft.com/office/drawing/2014/main" id="{A8ACC4F4-7C02-FF7D-CF74-33786CE08F5E}"/>
              </a:ext>
            </a:extLst>
          </p:cNvPr>
          <p:cNvSpPr>
            <a:spLocks noGrp="1"/>
          </p:cNvSpPr>
          <p:nvPr>
            <p:ph type="sldNum" sz="quarter" idx="14"/>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607588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BJECTIVES PAGE_IMAGE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FA3418-0396-490C-A419-013921E19A88}"/>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2" name="Picture 31" descr="Shape, circle&#10;&#10;Description automatically generated">
            <a:extLst>
              <a:ext uri="{FF2B5EF4-FFF2-40B4-BE49-F238E27FC236}">
                <a16:creationId xmlns:a16="http://schemas.microsoft.com/office/drawing/2014/main" id="{1E14698F-2DFE-4ABC-8776-F961CD13BF3C}"/>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6" name="Text Placeholder 5">
            <a:extLst>
              <a:ext uri="{FF2B5EF4-FFF2-40B4-BE49-F238E27FC236}">
                <a16:creationId xmlns:a16="http://schemas.microsoft.com/office/drawing/2014/main" id="{7378D8CD-C3E3-4637-8184-7FC938EE9CFF}"/>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1</a:t>
            </a:r>
          </a:p>
        </p:txBody>
      </p:sp>
      <p:sp>
        <p:nvSpPr>
          <p:cNvPr id="33" name="Text Placeholder 5">
            <a:extLst>
              <a:ext uri="{FF2B5EF4-FFF2-40B4-BE49-F238E27FC236}">
                <a16:creationId xmlns:a16="http://schemas.microsoft.com/office/drawing/2014/main" id="{5B6B688A-4321-4967-ADCE-3DD62CCF28D1}"/>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2</a:t>
            </a:r>
          </a:p>
        </p:txBody>
      </p:sp>
      <p:sp>
        <p:nvSpPr>
          <p:cNvPr id="34" name="Text Placeholder 5">
            <a:extLst>
              <a:ext uri="{FF2B5EF4-FFF2-40B4-BE49-F238E27FC236}">
                <a16:creationId xmlns:a16="http://schemas.microsoft.com/office/drawing/2014/main" id="{10A46619-F1F2-43A8-85D6-A1D7F402C17E}"/>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3</a:t>
            </a:r>
          </a:p>
        </p:txBody>
      </p:sp>
      <p:sp>
        <p:nvSpPr>
          <p:cNvPr id="35" name="Text Placeholder 5">
            <a:extLst>
              <a:ext uri="{FF2B5EF4-FFF2-40B4-BE49-F238E27FC236}">
                <a16:creationId xmlns:a16="http://schemas.microsoft.com/office/drawing/2014/main" id="{A04A0385-DE7C-4017-A042-7DF11670E515}"/>
              </a:ext>
            </a:extLst>
          </p:cNvPr>
          <p:cNvSpPr>
            <a:spLocks noGrp="1"/>
          </p:cNvSpPr>
          <p:nvPr>
            <p:ph type="body" sz="quarter" idx="13"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4</a:t>
            </a:r>
          </a:p>
        </p:txBody>
      </p:sp>
      <p:sp>
        <p:nvSpPr>
          <p:cNvPr id="36" name="TextBox 35">
            <a:extLst>
              <a:ext uri="{FF2B5EF4-FFF2-40B4-BE49-F238E27FC236}">
                <a16:creationId xmlns:a16="http://schemas.microsoft.com/office/drawing/2014/main" id="{AD590678-8D03-4720-9986-71EBEAE6C458}"/>
              </a:ext>
            </a:extLst>
          </p:cNvPr>
          <p:cNvSpPr txBox="1"/>
          <p:nvPr userDrawn="1"/>
        </p:nvSpPr>
        <p:spPr>
          <a:xfrm>
            <a:off x="179783" y="192389"/>
            <a:ext cx="4556055"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7" name="TextBox 36">
            <a:extLst>
              <a:ext uri="{FF2B5EF4-FFF2-40B4-BE49-F238E27FC236}">
                <a16:creationId xmlns:a16="http://schemas.microsoft.com/office/drawing/2014/main" id="{1F9277E1-AD60-4D2D-BE69-54968C565961}"/>
              </a:ext>
            </a:extLst>
          </p:cNvPr>
          <p:cNvSpPr txBox="1"/>
          <p:nvPr userDrawn="1"/>
        </p:nvSpPr>
        <p:spPr>
          <a:xfrm>
            <a:off x="512169" y="1425240"/>
            <a:ext cx="7172156" cy="523220"/>
          </a:xfrm>
          <a:prstGeom prst="rect">
            <a:avLst/>
          </a:prstGeom>
          <a:noFill/>
        </p:spPr>
        <p:txBody>
          <a:bodyPr wrap="none" rtlCol="0">
            <a:spAutoFit/>
          </a:bodyPr>
          <a:lstStyle/>
          <a:p>
            <a:r>
              <a:rPr lang="nl-NL" sz="2800" b="1">
                <a:latin typeface="Ink Free" panose="03080402000500000000" pitchFamily="66" charset="0"/>
              </a:rPr>
              <a:t>By the end of this module you will be able to:</a:t>
            </a:r>
          </a:p>
        </p:txBody>
      </p:sp>
      <p:sp>
        <p:nvSpPr>
          <p:cNvPr id="2" name="Oval 1">
            <a:extLst>
              <a:ext uri="{FF2B5EF4-FFF2-40B4-BE49-F238E27FC236}">
                <a16:creationId xmlns:a16="http://schemas.microsoft.com/office/drawing/2014/main" id="{D7B0406E-C1BB-6A1F-CB07-3376E948D0BF}"/>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Circle: Hollow 2">
            <a:extLst>
              <a:ext uri="{FF2B5EF4-FFF2-40B4-BE49-F238E27FC236}">
                <a16:creationId xmlns:a16="http://schemas.microsoft.com/office/drawing/2014/main" id="{94D745D1-DC55-B4E1-7DAD-4B4B000F3095}"/>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4" name="Circle: Hollow 3">
            <a:extLst>
              <a:ext uri="{FF2B5EF4-FFF2-40B4-BE49-F238E27FC236}">
                <a16:creationId xmlns:a16="http://schemas.microsoft.com/office/drawing/2014/main" id="{250790E5-9E11-4649-E4AC-41D375E1BFC4}"/>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7" name="Picture Placeholder 10">
            <a:extLst>
              <a:ext uri="{FF2B5EF4-FFF2-40B4-BE49-F238E27FC236}">
                <a16:creationId xmlns:a16="http://schemas.microsoft.com/office/drawing/2014/main" id="{BF4F2507-8787-C114-465A-45FB837B2E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9954" t="17481" r="12474"/>
          <a:stretch/>
        </p:blipFill>
        <p:spPr>
          <a:xfrm>
            <a:off x="8680177" y="-346796"/>
            <a:ext cx="3892823" cy="3892823"/>
          </a:xfrm>
          <a:prstGeom prst="ellipse">
            <a:avLst/>
          </a:prstGeom>
        </p:spPr>
      </p:pic>
      <p:sp>
        <p:nvSpPr>
          <p:cNvPr id="5" name="Slide Number Placeholder 4">
            <a:extLst>
              <a:ext uri="{FF2B5EF4-FFF2-40B4-BE49-F238E27FC236}">
                <a16:creationId xmlns:a16="http://schemas.microsoft.com/office/drawing/2014/main" id="{FFAB501B-3335-168E-2333-DFE6547679EB}"/>
              </a:ext>
            </a:extLst>
          </p:cNvPr>
          <p:cNvSpPr>
            <a:spLocks noGrp="1"/>
          </p:cNvSpPr>
          <p:nvPr>
            <p:ph type="sldNum" sz="quarter" idx="14"/>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154676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BJECTIVES PAGE_IMAGE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FA3418-0396-490C-A419-013921E19A88}"/>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2" name="Picture 31" descr="Shape, circle&#10;&#10;Description automatically generated">
            <a:extLst>
              <a:ext uri="{FF2B5EF4-FFF2-40B4-BE49-F238E27FC236}">
                <a16:creationId xmlns:a16="http://schemas.microsoft.com/office/drawing/2014/main" id="{1E14698F-2DFE-4ABC-8776-F961CD13BF3C}"/>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6" name="Text Placeholder 5">
            <a:extLst>
              <a:ext uri="{FF2B5EF4-FFF2-40B4-BE49-F238E27FC236}">
                <a16:creationId xmlns:a16="http://schemas.microsoft.com/office/drawing/2014/main" id="{7378D8CD-C3E3-4637-8184-7FC938EE9CFF}"/>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1</a:t>
            </a:r>
          </a:p>
        </p:txBody>
      </p:sp>
      <p:sp>
        <p:nvSpPr>
          <p:cNvPr id="33" name="Text Placeholder 5">
            <a:extLst>
              <a:ext uri="{FF2B5EF4-FFF2-40B4-BE49-F238E27FC236}">
                <a16:creationId xmlns:a16="http://schemas.microsoft.com/office/drawing/2014/main" id="{5B6B688A-4321-4967-ADCE-3DD62CCF28D1}"/>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2</a:t>
            </a:r>
          </a:p>
        </p:txBody>
      </p:sp>
      <p:sp>
        <p:nvSpPr>
          <p:cNvPr id="34" name="Text Placeholder 5">
            <a:extLst>
              <a:ext uri="{FF2B5EF4-FFF2-40B4-BE49-F238E27FC236}">
                <a16:creationId xmlns:a16="http://schemas.microsoft.com/office/drawing/2014/main" id="{10A46619-F1F2-43A8-85D6-A1D7F402C17E}"/>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3</a:t>
            </a:r>
          </a:p>
        </p:txBody>
      </p:sp>
      <p:sp>
        <p:nvSpPr>
          <p:cNvPr id="35" name="Text Placeholder 5">
            <a:extLst>
              <a:ext uri="{FF2B5EF4-FFF2-40B4-BE49-F238E27FC236}">
                <a16:creationId xmlns:a16="http://schemas.microsoft.com/office/drawing/2014/main" id="{A04A0385-DE7C-4017-A042-7DF11670E515}"/>
              </a:ext>
            </a:extLst>
          </p:cNvPr>
          <p:cNvSpPr>
            <a:spLocks noGrp="1"/>
          </p:cNvSpPr>
          <p:nvPr>
            <p:ph type="body" sz="quarter" idx="13"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4</a:t>
            </a:r>
          </a:p>
        </p:txBody>
      </p:sp>
      <p:sp>
        <p:nvSpPr>
          <p:cNvPr id="36" name="TextBox 35">
            <a:extLst>
              <a:ext uri="{FF2B5EF4-FFF2-40B4-BE49-F238E27FC236}">
                <a16:creationId xmlns:a16="http://schemas.microsoft.com/office/drawing/2014/main" id="{AD590678-8D03-4720-9986-71EBEAE6C458}"/>
              </a:ext>
            </a:extLst>
          </p:cNvPr>
          <p:cNvSpPr txBox="1"/>
          <p:nvPr userDrawn="1"/>
        </p:nvSpPr>
        <p:spPr>
          <a:xfrm>
            <a:off x="179783" y="192389"/>
            <a:ext cx="4556055"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37" name="TextBox 36">
            <a:extLst>
              <a:ext uri="{FF2B5EF4-FFF2-40B4-BE49-F238E27FC236}">
                <a16:creationId xmlns:a16="http://schemas.microsoft.com/office/drawing/2014/main" id="{1F9277E1-AD60-4D2D-BE69-54968C565961}"/>
              </a:ext>
            </a:extLst>
          </p:cNvPr>
          <p:cNvSpPr txBox="1"/>
          <p:nvPr userDrawn="1"/>
        </p:nvSpPr>
        <p:spPr>
          <a:xfrm>
            <a:off x="512169" y="1425240"/>
            <a:ext cx="7172156" cy="523220"/>
          </a:xfrm>
          <a:prstGeom prst="rect">
            <a:avLst/>
          </a:prstGeom>
          <a:noFill/>
        </p:spPr>
        <p:txBody>
          <a:bodyPr wrap="none" rtlCol="0">
            <a:spAutoFit/>
          </a:bodyPr>
          <a:lstStyle/>
          <a:p>
            <a:r>
              <a:rPr lang="nl-NL" sz="2800" b="1">
                <a:latin typeface="Ink Free" panose="03080402000500000000" pitchFamily="66" charset="0"/>
              </a:rPr>
              <a:t>By the end of this module you will be able to:</a:t>
            </a:r>
          </a:p>
        </p:txBody>
      </p:sp>
      <p:sp>
        <p:nvSpPr>
          <p:cNvPr id="2" name="Oval 1">
            <a:extLst>
              <a:ext uri="{FF2B5EF4-FFF2-40B4-BE49-F238E27FC236}">
                <a16:creationId xmlns:a16="http://schemas.microsoft.com/office/drawing/2014/main" id="{23ADD9C8-F505-F387-6A83-94A7167636BD}"/>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Circle: Hollow 2">
            <a:extLst>
              <a:ext uri="{FF2B5EF4-FFF2-40B4-BE49-F238E27FC236}">
                <a16:creationId xmlns:a16="http://schemas.microsoft.com/office/drawing/2014/main" id="{38335404-23E4-214B-40CF-0D5E34B8C826}"/>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4" name="Circle: Hollow 3">
            <a:extLst>
              <a:ext uri="{FF2B5EF4-FFF2-40B4-BE49-F238E27FC236}">
                <a16:creationId xmlns:a16="http://schemas.microsoft.com/office/drawing/2014/main" id="{3331DB0F-033C-00F0-0DEA-20406F0797B9}"/>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7" name="Picture Placeholder 15" descr="Diagram, venn diagram&#10;&#10;Description automatically generated">
            <a:extLst>
              <a:ext uri="{FF2B5EF4-FFF2-40B4-BE49-F238E27FC236}">
                <a16:creationId xmlns:a16="http://schemas.microsoft.com/office/drawing/2014/main" id="{5E5FB6B2-7168-B6E6-8058-DC88D4C2478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4414" t="13326" r="11338" b="12427"/>
          <a:stretch/>
        </p:blipFill>
        <p:spPr>
          <a:xfrm>
            <a:off x="8692877" y="-308696"/>
            <a:ext cx="3892823" cy="3892823"/>
          </a:xfrm>
          <a:prstGeom prst="ellipse">
            <a:avLst/>
          </a:prstGeom>
        </p:spPr>
      </p:pic>
      <p:sp>
        <p:nvSpPr>
          <p:cNvPr id="5" name="Slide Number Placeholder 4">
            <a:extLst>
              <a:ext uri="{FF2B5EF4-FFF2-40B4-BE49-F238E27FC236}">
                <a16:creationId xmlns:a16="http://schemas.microsoft.com/office/drawing/2014/main" id="{25326AE7-C33F-518B-A22B-F5AABD44D683}"/>
              </a:ext>
            </a:extLst>
          </p:cNvPr>
          <p:cNvSpPr>
            <a:spLocks noGrp="1"/>
          </p:cNvSpPr>
          <p:nvPr>
            <p:ph type="sldNum" sz="quarter" idx="14"/>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1940127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BJECTIVES PAGE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478DBB3-8CBA-44B0-8448-554392206DAD}"/>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2B1BD734-7379-4346-88DF-5BB68C76BF87}"/>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rot="10800000" flipV="1">
            <a:off x="6541791" y="0"/>
            <a:ext cx="5632889" cy="5588000"/>
          </a:xfrm>
          <a:prstGeom prst="rect">
            <a:avLst/>
          </a:prstGeom>
        </p:spPr>
      </p:pic>
      <p:sp>
        <p:nvSpPr>
          <p:cNvPr id="5" name="Oval 4">
            <a:extLst>
              <a:ext uri="{FF2B5EF4-FFF2-40B4-BE49-F238E27FC236}">
                <a16:creationId xmlns:a16="http://schemas.microsoft.com/office/drawing/2014/main" id="{11CD8C8C-63CF-4943-89D3-B5BCA0F16C98}"/>
              </a:ext>
            </a:extLst>
          </p:cNvPr>
          <p:cNvSpPr>
            <a:spLocks noChangeAspect="1"/>
          </p:cNvSpPr>
          <p:nvPr userDrawn="1"/>
        </p:nvSpPr>
        <p:spPr>
          <a:xfrm>
            <a:off x="8515354" y="-476505"/>
            <a:ext cx="4200005" cy="41595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Circle: Hollow 5">
            <a:extLst>
              <a:ext uri="{FF2B5EF4-FFF2-40B4-BE49-F238E27FC236}">
                <a16:creationId xmlns:a16="http://schemas.microsoft.com/office/drawing/2014/main" id="{77FBCCC6-2047-406D-B33D-317698474BB6}"/>
              </a:ext>
            </a:extLst>
          </p:cNvPr>
          <p:cNvSpPr>
            <a:spLocks noChangeAspect="1"/>
          </p:cNvSpPr>
          <p:nvPr userDrawn="1"/>
        </p:nvSpPr>
        <p:spPr>
          <a:xfrm>
            <a:off x="8316004" y="-681353"/>
            <a:ext cx="4604447" cy="4560048"/>
          </a:xfrm>
          <a:prstGeom prst="donut">
            <a:avLst>
              <a:gd name="adj" fmla="val 1425"/>
            </a:avLst>
          </a:prstGeom>
          <a:solidFill>
            <a:schemeClr val="bg2">
              <a:lumMod val="90000"/>
              <a:alpha val="7411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7" name="Circle: Hollow 6">
            <a:extLst>
              <a:ext uri="{FF2B5EF4-FFF2-40B4-BE49-F238E27FC236}">
                <a16:creationId xmlns:a16="http://schemas.microsoft.com/office/drawing/2014/main" id="{12D982B6-0289-439C-A43F-7FF6B3744AD9}"/>
              </a:ext>
            </a:extLst>
          </p:cNvPr>
          <p:cNvSpPr>
            <a:spLocks noChangeAspect="1"/>
          </p:cNvSpPr>
          <p:nvPr userDrawn="1"/>
        </p:nvSpPr>
        <p:spPr>
          <a:xfrm>
            <a:off x="8471398" y="-514606"/>
            <a:ext cx="4294775" cy="4253363"/>
          </a:xfrm>
          <a:prstGeom prst="donut">
            <a:avLst>
              <a:gd name="adj" fmla="val 268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8" name="Picture Placeholder 2">
            <a:extLst>
              <a:ext uri="{FF2B5EF4-FFF2-40B4-BE49-F238E27FC236}">
                <a16:creationId xmlns:a16="http://schemas.microsoft.com/office/drawing/2014/main" id="{FEB8FEBE-B61F-4667-AB15-3E01E9EFF369}"/>
              </a:ext>
            </a:extLst>
          </p:cNvPr>
          <p:cNvSpPr>
            <a:spLocks noGrp="1" noChangeAspect="1"/>
          </p:cNvSpPr>
          <p:nvPr>
            <p:ph type="pic" sz="quarter" idx="13"/>
          </p:nvPr>
        </p:nvSpPr>
        <p:spPr>
          <a:xfrm>
            <a:off x="8654777" y="-346796"/>
            <a:ext cx="3892823" cy="3892823"/>
          </a:xfrm>
          <a:prstGeom prst="ellipse">
            <a:avLst/>
          </a:prstGeom>
          <a:ln>
            <a:noFill/>
          </a:ln>
        </p:spPr>
        <p:txBody>
          <a:bodyPr/>
          <a:lstStyle/>
          <a:p>
            <a:endParaRPr lang="nl-NL"/>
          </a:p>
        </p:txBody>
      </p:sp>
      <p:sp>
        <p:nvSpPr>
          <p:cNvPr id="16" name="Text Placeholder 5">
            <a:extLst>
              <a:ext uri="{FF2B5EF4-FFF2-40B4-BE49-F238E27FC236}">
                <a16:creationId xmlns:a16="http://schemas.microsoft.com/office/drawing/2014/main" id="{543B43F8-9408-4DE6-ADB1-0F55458A9A22}"/>
              </a:ext>
            </a:extLst>
          </p:cNvPr>
          <p:cNvSpPr>
            <a:spLocks noGrp="1"/>
          </p:cNvSpPr>
          <p:nvPr>
            <p:ph type="body" sz="quarter" idx="10" hasCustomPrompt="1"/>
          </p:nvPr>
        </p:nvSpPr>
        <p:spPr>
          <a:xfrm>
            <a:off x="512171" y="202752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1</a:t>
            </a:r>
          </a:p>
        </p:txBody>
      </p:sp>
      <p:sp>
        <p:nvSpPr>
          <p:cNvPr id="17" name="Text Placeholder 5">
            <a:extLst>
              <a:ext uri="{FF2B5EF4-FFF2-40B4-BE49-F238E27FC236}">
                <a16:creationId xmlns:a16="http://schemas.microsoft.com/office/drawing/2014/main" id="{94772D6F-1FC4-4476-A44A-08C36474BFAC}"/>
              </a:ext>
            </a:extLst>
          </p:cNvPr>
          <p:cNvSpPr>
            <a:spLocks noGrp="1"/>
          </p:cNvSpPr>
          <p:nvPr>
            <p:ph type="body" sz="quarter" idx="11" hasCustomPrompt="1"/>
          </p:nvPr>
        </p:nvSpPr>
        <p:spPr>
          <a:xfrm>
            <a:off x="512171" y="2979306"/>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2</a:t>
            </a:r>
          </a:p>
        </p:txBody>
      </p:sp>
      <p:sp>
        <p:nvSpPr>
          <p:cNvPr id="18" name="Text Placeholder 5">
            <a:extLst>
              <a:ext uri="{FF2B5EF4-FFF2-40B4-BE49-F238E27FC236}">
                <a16:creationId xmlns:a16="http://schemas.microsoft.com/office/drawing/2014/main" id="{512809E2-9DA5-447E-955E-34FB70D95FD4}"/>
              </a:ext>
            </a:extLst>
          </p:cNvPr>
          <p:cNvSpPr>
            <a:spLocks noGrp="1"/>
          </p:cNvSpPr>
          <p:nvPr>
            <p:ph type="body" sz="quarter" idx="12" hasCustomPrompt="1"/>
          </p:nvPr>
        </p:nvSpPr>
        <p:spPr>
          <a:xfrm>
            <a:off x="512170" y="3925397"/>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3</a:t>
            </a:r>
          </a:p>
        </p:txBody>
      </p:sp>
      <p:sp>
        <p:nvSpPr>
          <p:cNvPr id="19" name="Text Placeholder 5">
            <a:extLst>
              <a:ext uri="{FF2B5EF4-FFF2-40B4-BE49-F238E27FC236}">
                <a16:creationId xmlns:a16="http://schemas.microsoft.com/office/drawing/2014/main" id="{B7A3AD81-254E-4701-8E10-052F58E25B96}"/>
              </a:ext>
            </a:extLst>
          </p:cNvPr>
          <p:cNvSpPr>
            <a:spLocks noGrp="1"/>
          </p:cNvSpPr>
          <p:nvPr>
            <p:ph type="body" sz="quarter" idx="14" hasCustomPrompt="1"/>
          </p:nvPr>
        </p:nvSpPr>
        <p:spPr>
          <a:xfrm>
            <a:off x="512169" y="4876200"/>
            <a:ext cx="8003183" cy="914400"/>
          </a:xfrm>
          <a:prstGeom prst="rect">
            <a:avLst/>
          </a:prstGeom>
        </p:spPr>
        <p:txBody>
          <a:bodyPr/>
          <a:lstStyle>
            <a:lvl1pPr marL="0" indent="0">
              <a:buNone/>
              <a:defRPr sz="2400">
                <a:latin typeface="Ink Free" panose="03080402000500000000" pitchFamily="66" charset="0"/>
              </a:defRPr>
            </a:lvl1pPr>
            <a:lvl2pPr marL="457200" indent="0">
              <a:buNone/>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nter objective 4</a:t>
            </a:r>
          </a:p>
        </p:txBody>
      </p:sp>
      <p:sp>
        <p:nvSpPr>
          <p:cNvPr id="21" name="TextBox 20">
            <a:extLst>
              <a:ext uri="{FF2B5EF4-FFF2-40B4-BE49-F238E27FC236}">
                <a16:creationId xmlns:a16="http://schemas.microsoft.com/office/drawing/2014/main" id="{90FA61AE-BB1F-440B-B9B9-EEF289294A6B}"/>
              </a:ext>
            </a:extLst>
          </p:cNvPr>
          <p:cNvSpPr txBox="1"/>
          <p:nvPr userDrawn="1"/>
        </p:nvSpPr>
        <p:spPr>
          <a:xfrm>
            <a:off x="512169" y="1425240"/>
            <a:ext cx="7172156" cy="523220"/>
          </a:xfrm>
          <a:prstGeom prst="rect">
            <a:avLst/>
          </a:prstGeom>
          <a:noFill/>
        </p:spPr>
        <p:txBody>
          <a:bodyPr wrap="none" rtlCol="0">
            <a:spAutoFit/>
          </a:bodyPr>
          <a:lstStyle/>
          <a:p>
            <a:r>
              <a:rPr lang="nl-NL" sz="2800" b="1">
                <a:latin typeface="Ink Free" panose="03080402000500000000" pitchFamily="66" charset="0"/>
              </a:rPr>
              <a:t>By then end of this module you will be able to:</a:t>
            </a:r>
          </a:p>
        </p:txBody>
      </p:sp>
      <p:sp>
        <p:nvSpPr>
          <p:cNvPr id="22" name="TextBox 21">
            <a:extLst>
              <a:ext uri="{FF2B5EF4-FFF2-40B4-BE49-F238E27FC236}">
                <a16:creationId xmlns:a16="http://schemas.microsoft.com/office/drawing/2014/main" id="{F50D9795-89E4-442A-AB07-DB9973DB0C26}"/>
              </a:ext>
            </a:extLst>
          </p:cNvPr>
          <p:cNvSpPr txBox="1"/>
          <p:nvPr userDrawn="1"/>
        </p:nvSpPr>
        <p:spPr>
          <a:xfrm>
            <a:off x="179783" y="192389"/>
            <a:ext cx="4556055" cy="584775"/>
          </a:xfrm>
          <a:prstGeom prst="rect">
            <a:avLst/>
          </a:prstGeom>
          <a:noFill/>
        </p:spPr>
        <p:txBody>
          <a:bodyPr wrap="none" rtlCol="0">
            <a:spAutoFit/>
          </a:bodyPr>
          <a:lstStyle/>
          <a:p>
            <a:r>
              <a:rPr lang="en-US" sz="3200" b="1">
                <a:solidFill>
                  <a:srgbClr val="00AEEF"/>
                </a:solidFill>
                <a:latin typeface="Delivery" panose="020F0503020204020204" pitchFamily="34" charset="0"/>
                <a:ea typeface="Delivery" panose="020F0503020204020204" pitchFamily="34" charset="0"/>
                <a:cs typeface="Delivery" panose="020F0503020204020204" pitchFamily="34" charset="0"/>
              </a:rPr>
              <a:t>LEARNING OBJECTIVES</a:t>
            </a:r>
            <a:endParaRPr lang="nl-NL" sz="1200" b="1">
              <a:solidFill>
                <a:srgbClr val="00AEEF"/>
              </a:solidFill>
              <a:latin typeface="Delivery" panose="020F0503020204020204" pitchFamily="34" charset="0"/>
              <a:ea typeface="Delivery" panose="020F0503020204020204" pitchFamily="34" charset="0"/>
              <a:cs typeface="Delivery" panose="020F0503020204020204" pitchFamily="34" charset="0"/>
            </a:endParaRPr>
          </a:p>
        </p:txBody>
      </p:sp>
      <p:sp>
        <p:nvSpPr>
          <p:cNvPr id="2" name="Slide Number Placeholder 1">
            <a:extLst>
              <a:ext uri="{FF2B5EF4-FFF2-40B4-BE49-F238E27FC236}">
                <a16:creationId xmlns:a16="http://schemas.microsoft.com/office/drawing/2014/main" id="{F7699F7F-A3F2-3761-E5CD-30B9A140B7F7}"/>
              </a:ext>
            </a:extLst>
          </p:cNvPr>
          <p:cNvSpPr>
            <a:spLocks noGrp="1"/>
          </p:cNvSpPr>
          <p:nvPr>
            <p:ph type="sldNum" sz="quarter" idx="15"/>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4542084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ANSITION PAGE AF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1">
            <a:extLst>
              <a:ext uri="{FF2B5EF4-FFF2-40B4-BE49-F238E27FC236}">
                <a16:creationId xmlns:a16="http://schemas.microsoft.com/office/drawing/2014/main" id="{1B34DE5A-A590-4BC7-967E-C466D1AB843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812"/>
          <a:stretch/>
        </p:blipFill>
        <p:spPr>
          <a:xfrm>
            <a:off x="-2077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F8D745B2-181B-C7FB-25D5-CCB769166FEF}"/>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2583725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ANSITION PAGE AF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20" name="Picture Placeholder 5">
            <a:extLst>
              <a:ext uri="{FF2B5EF4-FFF2-40B4-BE49-F238E27FC236}">
                <a16:creationId xmlns:a16="http://schemas.microsoft.com/office/drawing/2014/main" id="{AA316804-1769-4051-BE67-10D3164B8EC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61528" y="-294381"/>
            <a:ext cx="4732119" cy="4732119"/>
          </a:xfrm>
          <a:prstGeom prst="ellipse">
            <a:avLst/>
          </a:prstGeom>
          <a:ln>
            <a:noFill/>
          </a:ln>
        </p:spPr>
      </p:pic>
      <p:sp>
        <p:nvSpPr>
          <p:cNvPr id="2" name="Slide Number Placeholder 1">
            <a:extLst>
              <a:ext uri="{FF2B5EF4-FFF2-40B4-BE49-F238E27FC236}">
                <a16:creationId xmlns:a16="http://schemas.microsoft.com/office/drawing/2014/main" id="{C3A99778-2B07-98B7-05CD-5E2321C32897}"/>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810185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ANSITION PAGE AF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6" name="Picture Placeholder 16">
            <a:extLst>
              <a:ext uri="{FF2B5EF4-FFF2-40B4-BE49-F238E27FC236}">
                <a16:creationId xmlns:a16="http://schemas.microsoft.com/office/drawing/2014/main" id="{9B943C83-6792-468C-8670-C042E6FB9FD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458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24B21780-5048-6959-E174-838C6065A25B}"/>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2180687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ANSITION PAGE AF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1">
            <a:extLst>
              <a:ext uri="{FF2B5EF4-FFF2-40B4-BE49-F238E27FC236}">
                <a16:creationId xmlns:a16="http://schemas.microsoft.com/office/drawing/2014/main" id="{43FDDFA6-320F-420A-AC82-CAC91807A75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69"/>
          <a:stretch/>
        </p:blipFill>
        <p:spPr>
          <a:xfrm>
            <a:off x="-271254" y="-294381"/>
            <a:ext cx="4732119" cy="4732119"/>
          </a:xfrm>
          <a:prstGeom prst="ellipse">
            <a:avLst/>
          </a:prstGeom>
        </p:spPr>
      </p:pic>
      <p:sp>
        <p:nvSpPr>
          <p:cNvPr id="2" name="Slide Number Placeholder 1">
            <a:extLst>
              <a:ext uri="{FF2B5EF4-FFF2-40B4-BE49-F238E27FC236}">
                <a16:creationId xmlns:a16="http://schemas.microsoft.com/office/drawing/2014/main" id="{C6B42B1D-3337-F7E6-00BF-97DAF84AF5A7}"/>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381309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ANSITION PAGE AS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3" descr="A picture containing person&#10;&#10;Description automatically generated">
            <a:extLst>
              <a:ext uri="{FF2B5EF4-FFF2-40B4-BE49-F238E27FC236}">
                <a16:creationId xmlns:a16="http://schemas.microsoft.com/office/drawing/2014/main" id="{7F16EA21-8B87-469D-A3E8-3FEA074A8DD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201"/>
          <a:stretch/>
        </p:blipFill>
        <p:spPr>
          <a:xfrm>
            <a:off x="-251886" y="-279239"/>
            <a:ext cx="4732119" cy="4732119"/>
          </a:xfrm>
          <a:prstGeom prst="ellipse">
            <a:avLst/>
          </a:prstGeom>
          <a:ln>
            <a:noFill/>
          </a:ln>
        </p:spPr>
      </p:pic>
      <p:sp>
        <p:nvSpPr>
          <p:cNvPr id="2" name="Slide Number Placeholder 1">
            <a:extLst>
              <a:ext uri="{FF2B5EF4-FFF2-40B4-BE49-F238E27FC236}">
                <a16:creationId xmlns:a16="http://schemas.microsoft.com/office/drawing/2014/main" id="{FA1639B2-925B-EFA3-8704-24D885E8E741}"/>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6965523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LASHPAGE AF 3">
    <p:bg>
      <p:bgPr>
        <a:solidFill>
          <a:schemeClr val="bg1"/>
        </a:solidFill>
        <a:effectLst/>
      </p:bgPr>
    </p:bg>
    <p:spTree>
      <p:nvGrpSpPr>
        <p:cNvPr id="1" name=""/>
        <p:cNvGrpSpPr/>
        <p:nvPr/>
      </p:nvGrpSpPr>
      <p:grpSpPr>
        <a:xfrm>
          <a:off x="0" y="0"/>
          <a:ext cx="0" cy="0"/>
          <a:chOff x="0" y="0"/>
          <a:chExt cx="0" cy="0"/>
        </a:xfrm>
      </p:grpSpPr>
      <p:pic>
        <p:nvPicPr>
          <p:cNvPr id="55" name="Picture 4">
            <a:extLst>
              <a:ext uri="{FF2B5EF4-FFF2-40B4-BE49-F238E27FC236}">
                <a16:creationId xmlns:a16="http://schemas.microsoft.com/office/drawing/2014/main" id="{96BE2E8B-4F21-448D-9169-41CC70C477AE}"/>
              </a:ext>
            </a:extLst>
          </p:cNvPr>
          <p:cNvPicPr>
            <a:picLocks noChangeAspect="1" noChangeArrowheads="1"/>
          </p:cNvPicPr>
          <p:nvPr userDrawn="1"/>
        </p:nvPicPr>
        <p:blipFill rotWithShape="1">
          <a:blip r:embed="rId2"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flipH="1">
            <a:off x="-868" y="0"/>
            <a:ext cx="8137632"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E163D1F5-C5BA-4FF9-8B26-A03AA203D292}"/>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9990" b="99792" l="32727" r="70579">
                        <a14:foregroundMark x1="55455" y1="50780" x2="50661" y2="51821"/>
                        <a14:foregroundMark x1="67360" y1="47043" x2="67646" y2="54115"/>
                        <a14:foregroundMark x1="66281" y1="20291" x2="67356" y2="46928"/>
                        <a14:foregroundMark x1="68043" y1="65556" x2="66116" y2="72633"/>
                        <a14:foregroundMark x1="66116" y1="72633" x2="63554" y2="71072"/>
                        <a14:foregroundMark x1="59091" y1="59729" x2="50909" y2="99792"/>
                        <a14:foregroundMark x1="64463" y1="19459" x2="60496" y2="29553"/>
                        <a14:foregroundMark x1="66446" y1="20499" x2="70165" y2="26015"/>
                        <a14:foregroundMark x1="70165" y1="26015" x2="70430" y2="29683"/>
                        <a14:foregroundMark x1="64215" y1="19979" x2="52810" y2="23413"/>
                        <a14:foregroundMark x1="60331" y1="18835" x2="50992" y2="24246"/>
                        <a14:foregroundMark x1="59008" y1="19043" x2="52397" y2="23205"/>
                        <a14:foregroundMark x1="52397" y1="23205" x2="51736" y2="24142"/>
                        <a14:foregroundMark x1="43554" y1="68574" x2="36033" y2="94381"/>
                        <a14:foregroundMark x1="36033" y1="94381" x2="32727" y2="98855"/>
                        <a14:foregroundMark x1="38017" y1="69823" x2="33802" y2="92612"/>
                        <a14:foregroundMark x1="46694" y1="70968" x2="43140" y2="77419"/>
                        <a14:foregroundMark x1="64711" y1="51405" x2="65289" y2="59105"/>
                        <a14:foregroundMark x1="65537" y1="67430" x2="58264" y2="99584"/>
                        <a14:foregroundMark x1="70579" y1="26223" x2="67603" y2="21956"/>
                        <a14:foregroundMark x1="70248" y1="25702" x2="67603" y2="21748"/>
                        <a14:foregroundMark x1="51322" y1="24454" x2="47686" y2="30385"/>
                        <a14:foregroundMark x1="47686" y1="30385" x2="47686" y2="30385"/>
                        <a14:foregroundMark x1="50992" y1="24454" x2="47934" y2="29969"/>
                        <a14:backgroundMark x1="71240" y1="29865" x2="68760" y2="47242"/>
                        <a14:backgroundMark x1="68760" y1="47242" x2="69256" y2="54943"/>
                        <a14:backgroundMark x1="69256" y1="54943" x2="68760" y2="57024"/>
                        <a14:backgroundMark x1="67851" y1="54110" x2="68017" y2="65557"/>
                      </a14:backgroundRemoval>
                    </a14:imgEffect>
                  </a14:imgLayer>
                </a14:imgProps>
              </a:ext>
              <a:ext uri="{28A0092B-C50C-407E-A947-70E740481C1C}">
                <a14:useLocalDpi xmlns:a14="http://schemas.microsoft.com/office/drawing/2010/main" val="0"/>
              </a:ext>
            </a:extLst>
          </a:blip>
          <a:srcRect l="29877" r="28609"/>
          <a:stretch/>
        </p:blipFill>
        <p:spPr bwMode="auto">
          <a:xfrm flipH="1">
            <a:off x="1850719" y="-10556"/>
            <a:ext cx="3693747" cy="6893955"/>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2" name="Group 11">
            <a:extLst>
              <a:ext uri="{FF2B5EF4-FFF2-40B4-BE49-F238E27FC236}">
                <a16:creationId xmlns:a16="http://schemas.microsoft.com/office/drawing/2014/main" id="{C04323F2-1941-4F49-92D8-0EDDF6EDBD9C}"/>
              </a:ext>
            </a:extLst>
          </p:cNvPr>
          <p:cNvGrpSpPr/>
          <p:nvPr userDrawn="1"/>
        </p:nvGrpSpPr>
        <p:grpSpPr>
          <a:xfrm>
            <a:off x="6073832" y="268219"/>
            <a:ext cx="5836821" cy="5088756"/>
            <a:chOff x="5836362" y="68074"/>
            <a:chExt cx="6083274" cy="5355263"/>
          </a:xfrm>
        </p:grpSpPr>
        <p:sp>
          <p:nvSpPr>
            <p:cNvPr id="13" name="Oval 12">
              <a:extLst>
                <a:ext uri="{FF2B5EF4-FFF2-40B4-BE49-F238E27FC236}">
                  <a16:creationId xmlns:a16="http://schemas.microsoft.com/office/drawing/2014/main" id="{B837035D-5F63-4BD9-9B64-04B7DB5F7F38}"/>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Circle: Hollow 13">
              <a:extLst>
                <a:ext uri="{FF2B5EF4-FFF2-40B4-BE49-F238E27FC236}">
                  <a16:creationId xmlns:a16="http://schemas.microsoft.com/office/drawing/2014/main" id="{E3DE8605-1CD3-4052-B0DA-BEFA96AA1595}"/>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Circle: Hollow 14">
              <a:extLst>
                <a:ext uri="{FF2B5EF4-FFF2-40B4-BE49-F238E27FC236}">
                  <a16:creationId xmlns:a16="http://schemas.microsoft.com/office/drawing/2014/main" id="{FED25739-38B4-4110-9C53-DA5DCDE3B9FD}"/>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Oval 15">
              <a:extLst>
                <a:ext uri="{FF2B5EF4-FFF2-40B4-BE49-F238E27FC236}">
                  <a16:creationId xmlns:a16="http://schemas.microsoft.com/office/drawing/2014/main" id="{01F20A66-6C99-4916-8816-F167107725A1}"/>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74C7EDC0-EBCE-4E3A-9D16-C443CA7804BD}"/>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Oval 17">
              <a:extLst>
                <a:ext uri="{FF2B5EF4-FFF2-40B4-BE49-F238E27FC236}">
                  <a16:creationId xmlns:a16="http://schemas.microsoft.com/office/drawing/2014/main" id="{B977C1F6-60A7-4B1B-9B31-DDE34B0B2F0B}"/>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B510FB1A-C3B2-4CF5-8B2C-BBFB32FCFA0D}"/>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Oval 19">
              <a:extLst>
                <a:ext uri="{FF2B5EF4-FFF2-40B4-BE49-F238E27FC236}">
                  <a16:creationId xmlns:a16="http://schemas.microsoft.com/office/drawing/2014/main" id="{3766107F-7B2A-4F22-A601-9C16F5B2469C}"/>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A64F1F5-B827-4EA5-8933-E799B8E47C2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126DA8CC-2FAC-4DF8-971C-2E34B29CB181}"/>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Oval 22">
              <a:extLst>
                <a:ext uri="{FF2B5EF4-FFF2-40B4-BE49-F238E27FC236}">
                  <a16:creationId xmlns:a16="http://schemas.microsoft.com/office/drawing/2014/main" id="{6323C646-80F1-4602-AF8A-86A0673FCE7D}"/>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D443EF24-E818-47BF-B8CF-6146C4DE698D}"/>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B8496846-3226-4DAD-A0D5-7D8EF98CA348}"/>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6" name="Oval 25">
              <a:extLst>
                <a:ext uri="{FF2B5EF4-FFF2-40B4-BE49-F238E27FC236}">
                  <a16:creationId xmlns:a16="http://schemas.microsoft.com/office/drawing/2014/main" id="{B9C359CD-B1AF-454E-9332-15F4BC629672}"/>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Circle: Hollow 26">
              <a:extLst>
                <a:ext uri="{FF2B5EF4-FFF2-40B4-BE49-F238E27FC236}">
                  <a16:creationId xmlns:a16="http://schemas.microsoft.com/office/drawing/2014/main" id="{880AD3B9-F91A-486B-86B6-CAD8EAA4304F}"/>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8" name="Oval 27">
              <a:extLst>
                <a:ext uri="{FF2B5EF4-FFF2-40B4-BE49-F238E27FC236}">
                  <a16:creationId xmlns:a16="http://schemas.microsoft.com/office/drawing/2014/main" id="{D8A7D310-3144-4D73-89B9-504A0D7A255E}"/>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7AE2BFF1-642E-4793-93E5-D89D6AED52EC}"/>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DBD37EEF-F4C0-4062-9F31-DDF51B0450FF}"/>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DC866BA0-A3D8-4195-919B-8111B82EA0FB}"/>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DE8B01D4-3BE6-404D-865E-34AC3CBED0AB}"/>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092553F8-8827-418A-8D3A-834DCD9F2203}"/>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5BE81F47-731F-428A-8ACC-50DA1EDD0FCD}"/>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60E52D23-97A4-4275-8E22-44A3E492E0F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425FB51-11B9-4DD8-958D-FBFB22BFC0B5}"/>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7" name="Oval 36">
              <a:extLst>
                <a:ext uri="{FF2B5EF4-FFF2-40B4-BE49-F238E27FC236}">
                  <a16:creationId xmlns:a16="http://schemas.microsoft.com/office/drawing/2014/main" id="{57E26436-FC86-482A-A140-A3786CAC5AE6}"/>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5E28B611-2B90-4E9E-A804-9B799DAE96E6}"/>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8BD5ED52-6BF2-4195-A6B2-DE80F38E0929}"/>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6C2FEF86-6B99-44C8-BE8D-CE15F48C8E2B}"/>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E0382D9A-89BF-4090-86B5-346755BC8F4C}"/>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B31359F2-D4BA-4B7F-8F88-47D020CC3E1C}"/>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3" name="Oval 42">
              <a:extLst>
                <a:ext uri="{FF2B5EF4-FFF2-40B4-BE49-F238E27FC236}">
                  <a16:creationId xmlns:a16="http://schemas.microsoft.com/office/drawing/2014/main" id="{86FB5339-6178-417C-BAFD-AB5606A35AA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64A6D78A-A307-44EE-B5BD-F305D59F32DF}"/>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12192DCC-0F5E-4193-A87B-74A0D413E477}"/>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BB951C-002A-4272-A19E-7C8E6330513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3547E64B-4174-4EE0-9189-D6362E41C78B}"/>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CC08A981-C9F9-435A-903D-E7619E0950B5}"/>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D2AD646A-2E19-4579-9412-3377DD2A4A6C}"/>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DFDA3CB9-8E7E-4580-AE92-5A5EA2DD1D2A}"/>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22ECC116-6CBE-46B5-997C-AFD811BFE2AF}"/>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80833912-207A-4794-82C3-302AD41A3C2C}"/>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Circle: Hollow 52">
              <a:extLst>
                <a:ext uri="{FF2B5EF4-FFF2-40B4-BE49-F238E27FC236}">
                  <a16:creationId xmlns:a16="http://schemas.microsoft.com/office/drawing/2014/main" id="{35A6ABC5-1F91-4587-9A4D-12549EBDC0C6}"/>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4" name="Circle: Hollow 53">
              <a:extLst>
                <a:ext uri="{FF2B5EF4-FFF2-40B4-BE49-F238E27FC236}">
                  <a16:creationId xmlns:a16="http://schemas.microsoft.com/office/drawing/2014/main" id="{5BCD3E4E-188B-4795-BFEF-2E97AE3CF886}"/>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440AB59A-982F-E07C-BD45-8D91E7AC79FA}"/>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CFF27272-3B68-EF42-2988-7B3AC6518784}"/>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E7BCFC16-AA3F-0CB5-7C68-778170EF6ED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AE1436D6-6527-EAE8-1703-202DF06CF97E}"/>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2023F3B7-099D-D803-9C34-D16C91E8AF51}"/>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430525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RANSITION PAGE AS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8" descr="A picture containing person, indoor&#10;&#10;Description automatically generated">
            <a:extLst>
              <a:ext uri="{FF2B5EF4-FFF2-40B4-BE49-F238E27FC236}">
                <a16:creationId xmlns:a16="http://schemas.microsoft.com/office/drawing/2014/main" id="{610F21B1-7101-45F6-AA38-752ED285B1B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5379" y="-284856"/>
            <a:ext cx="4732119" cy="4732119"/>
          </a:xfrm>
          <a:prstGeom prst="ellipse">
            <a:avLst/>
          </a:prstGeom>
          <a:ln>
            <a:noFill/>
          </a:ln>
        </p:spPr>
      </p:pic>
      <p:sp>
        <p:nvSpPr>
          <p:cNvPr id="2" name="Slide Number Placeholder 1">
            <a:extLst>
              <a:ext uri="{FF2B5EF4-FFF2-40B4-BE49-F238E27FC236}">
                <a16:creationId xmlns:a16="http://schemas.microsoft.com/office/drawing/2014/main" id="{E7473D66-2932-85B0-98D7-0A529A6118A2}"/>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9683458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ANSITION PAGE AS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3" descr="A person sitting on the ground&#10;&#10;Description automatically generated with medium confidence">
            <a:extLst>
              <a:ext uri="{FF2B5EF4-FFF2-40B4-BE49-F238E27FC236}">
                <a16:creationId xmlns:a16="http://schemas.microsoft.com/office/drawing/2014/main" id="{673F2E3E-A5AB-4A07-87D1-393D6A6DFFB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1878" y="-284856"/>
            <a:ext cx="4732119" cy="4732119"/>
          </a:xfrm>
          <a:prstGeom prst="ellipse">
            <a:avLst/>
          </a:prstGeom>
          <a:ln>
            <a:noFill/>
          </a:ln>
        </p:spPr>
      </p:pic>
      <p:sp>
        <p:nvSpPr>
          <p:cNvPr id="2" name="Slide Number Placeholder 1">
            <a:extLst>
              <a:ext uri="{FF2B5EF4-FFF2-40B4-BE49-F238E27FC236}">
                <a16:creationId xmlns:a16="http://schemas.microsoft.com/office/drawing/2014/main" id="{6302446F-8F07-E88C-5D19-949474205AA4}"/>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8755165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ANSITION PAGE AS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18" descr="A couple of women sitting on a bench&#10;&#10;Description automatically generated with low confidence">
            <a:extLst>
              <a:ext uri="{FF2B5EF4-FFF2-40B4-BE49-F238E27FC236}">
                <a16:creationId xmlns:a16="http://schemas.microsoft.com/office/drawing/2014/main" id="{491A181A-B572-41EC-BE10-4C83F9B8295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70560" y="-311270"/>
            <a:ext cx="4754940" cy="4765898"/>
          </a:xfrm>
          <a:prstGeom prst="ellipse">
            <a:avLst/>
          </a:prstGeom>
          <a:ln>
            <a:noFill/>
          </a:ln>
        </p:spPr>
      </p:pic>
      <p:sp>
        <p:nvSpPr>
          <p:cNvPr id="2" name="Slide Number Placeholder 1">
            <a:extLst>
              <a:ext uri="{FF2B5EF4-FFF2-40B4-BE49-F238E27FC236}">
                <a16:creationId xmlns:a16="http://schemas.microsoft.com/office/drawing/2014/main" id="{B9D5205C-3CE4-D479-BF08-B204C45D71FC}"/>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1097191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RANSITION PAGE SA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42" descr="A person stands next to a horse&#10;&#10;Description automatically generated with medium confidence">
            <a:extLst>
              <a:ext uri="{FF2B5EF4-FFF2-40B4-BE49-F238E27FC236}">
                <a16:creationId xmlns:a16="http://schemas.microsoft.com/office/drawing/2014/main" id="{FC6D0D84-00D1-4A8B-9C12-4DD55673B0D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85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C70CFA3A-92E7-4774-ACFB-A00E8D88AC01}"/>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3716109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ANSITION PAGE SA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7">
            <a:extLst>
              <a:ext uri="{FF2B5EF4-FFF2-40B4-BE49-F238E27FC236}">
                <a16:creationId xmlns:a16="http://schemas.microsoft.com/office/drawing/2014/main" id="{5A6E0A02-9478-4350-A40E-F036FFA0C8C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51878" y="-290391"/>
            <a:ext cx="4732119" cy="4732119"/>
          </a:xfrm>
          <a:prstGeom prst="ellipse">
            <a:avLst/>
          </a:prstGeom>
          <a:ln>
            <a:noFill/>
          </a:ln>
        </p:spPr>
      </p:pic>
      <p:sp>
        <p:nvSpPr>
          <p:cNvPr id="2" name="Slide Number Placeholder 1">
            <a:extLst>
              <a:ext uri="{FF2B5EF4-FFF2-40B4-BE49-F238E27FC236}">
                <a16:creationId xmlns:a16="http://schemas.microsoft.com/office/drawing/2014/main" id="{7C272171-EF7A-DBE5-F297-F932F1F01132}"/>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5410740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ANSITION PAGE SA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7" name="Picture Placeholder 37" descr="A person wearing a garment&#10;&#10;Description automatically generated with low confidence">
            <a:extLst>
              <a:ext uri="{FF2B5EF4-FFF2-40B4-BE49-F238E27FC236}">
                <a16:creationId xmlns:a16="http://schemas.microsoft.com/office/drawing/2014/main" id="{6B3B84B2-BAE5-4993-9656-323A4F0FD2B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8242" y="-281681"/>
            <a:ext cx="4732119" cy="4732119"/>
          </a:xfrm>
          <a:prstGeom prst="ellipse">
            <a:avLst/>
          </a:prstGeom>
          <a:ln>
            <a:noFill/>
          </a:ln>
        </p:spPr>
      </p:pic>
      <p:sp>
        <p:nvSpPr>
          <p:cNvPr id="2" name="Slide Number Placeholder 1">
            <a:extLst>
              <a:ext uri="{FF2B5EF4-FFF2-40B4-BE49-F238E27FC236}">
                <a16:creationId xmlns:a16="http://schemas.microsoft.com/office/drawing/2014/main" id="{DAA7AEFC-C534-95E5-0A86-41495578B3AC}"/>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6392210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ANSITION PAGE SA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32" descr="A picture containing person, trouser&#10;&#10;Description automatically generated">
            <a:extLst>
              <a:ext uri="{FF2B5EF4-FFF2-40B4-BE49-F238E27FC236}">
                <a16:creationId xmlns:a16="http://schemas.microsoft.com/office/drawing/2014/main" id="{AAE251DD-C72A-4799-894C-96C6CF0B181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69"/>
          <a:stretch/>
        </p:blipFill>
        <p:spPr>
          <a:xfrm>
            <a:off x="-233154" y="-282556"/>
            <a:ext cx="4732119" cy="4732119"/>
          </a:xfrm>
          <a:prstGeom prst="ellipse">
            <a:avLst/>
          </a:prstGeom>
          <a:ln>
            <a:noFill/>
          </a:ln>
        </p:spPr>
      </p:pic>
      <p:sp>
        <p:nvSpPr>
          <p:cNvPr id="2" name="Slide Number Placeholder 1">
            <a:extLst>
              <a:ext uri="{FF2B5EF4-FFF2-40B4-BE49-F238E27FC236}">
                <a16:creationId xmlns:a16="http://schemas.microsoft.com/office/drawing/2014/main" id="{6DB54DFF-BC86-DC35-7691-68762FECA69E}"/>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6096743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RANSITION PAGE WE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95">
            <a:extLst>
              <a:ext uri="{FF2B5EF4-FFF2-40B4-BE49-F238E27FC236}">
                <a16:creationId xmlns:a16="http://schemas.microsoft.com/office/drawing/2014/main" id="{1C2CC4FD-AA5C-43E0-8F84-43747160738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44495" y="-294381"/>
            <a:ext cx="4732119" cy="4732119"/>
          </a:xfrm>
          <a:prstGeom prst="ellipse">
            <a:avLst/>
          </a:prstGeom>
          <a:ln>
            <a:noFill/>
          </a:ln>
        </p:spPr>
      </p:pic>
      <p:sp>
        <p:nvSpPr>
          <p:cNvPr id="2" name="Slide Number Placeholder 1">
            <a:extLst>
              <a:ext uri="{FF2B5EF4-FFF2-40B4-BE49-F238E27FC236}">
                <a16:creationId xmlns:a16="http://schemas.microsoft.com/office/drawing/2014/main" id="{69C8F2E8-09A5-B408-DE40-F5C760CA4730}"/>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0781160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RANSITION PAGE WE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09">
            <a:extLst>
              <a:ext uri="{FF2B5EF4-FFF2-40B4-BE49-F238E27FC236}">
                <a16:creationId xmlns:a16="http://schemas.microsoft.com/office/drawing/2014/main" id="{5E0BD08A-6854-4CC0-B24F-F237076F3CB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585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B1D90CE9-3DD8-3693-7AF8-A4F78DCC14E2}"/>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8900499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ANSITION PAGE WE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90">
            <a:extLst>
              <a:ext uri="{FF2B5EF4-FFF2-40B4-BE49-F238E27FC236}">
                <a16:creationId xmlns:a16="http://schemas.microsoft.com/office/drawing/2014/main" id="{B8DDE6F2-9F9B-41F2-B2A3-6DC9E6FA128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585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03B0897F-0BE1-E8CB-4BA6-0C682E44B78D}"/>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138127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LASHPAGE AS 1">
    <p:bg>
      <p:bgPr>
        <a:solidFill>
          <a:schemeClr val="bg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79C00F28-B628-41DD-8234-BA7516F71C92}"/>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14658"/>
          <a:stretch/>
        </p:blipFill>
        <p:spPr bwMode="auto">
          <a:xfrm>
            <a:off x="0" y="0"/>
            <a:ext cx="698131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1" name="Group 10">
            <a:extLst>
              <a:ext uri="{FF2B5EF4-FFF2-40B4-BE49-F238E27FC236}">
                <a16:creationId xmlns:a16="http://schemas.microsoft.com/office/drawing/2014/main" id="{F2F3D023-E23A-4E03-84C8-69F0966B73B0}"/>
              </a:ext>
            </a:extLst>
          </p:cNvPr>
          <p:cNvGrpSpPr/>
          <p:nvPr userDrawn="1"/>
        </p:nvGrpSpPr>
        <p:grpSpPr>
          <a:xfrm>
            <a:off x="6073832" y="268219"/>
            <a:ext cx="5836821" cy="5088756"/>
            <a:chOff x="5836362" y="68074"/>
            <a:chExt cx="6083274" cy="5355263"/>
          </a:xfrm>
        </p:grpSpPr>
        <p:sp>
          <p:nvSpPr>
            <p:cNvPr id="12" name="Oval 11">
              <a:extLst>
                <a:ext uri="{FF2B5EF4-FFF2-40B4-BE49-F238E27FC236}">
                  <a16:creationId xmlns:a16="http://schemas.microsoft.com/office/drawing/2014/main" id="{2B8030D7-615E-4293-82C1-DE20FE117CE4}"/>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Circle: Hollow 12">
              <a:extLst>
                <a:ext uri="{FF2B5EF4-FFF2-40B4-BE49-F238E27FC236}">
                  <a16:creationId xmlns:a16="http://schemas.microsoft.com/office/drawing/2014/main" id="{BCCD9D61-099D-45E0-99F3-8F5C167D7FE7}"/>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Circle: Hollow 13">
              <a:extLst>
                <a:ext uri="{FF2B5EF4-FFF2-40B4-BE49-F238E27FC236}">
                  <a16:creationId xmlns:a16="http://schemas.microsoft.com/office/drawing/2014/main" id="{659F2B10-1E06-40C6-9E26-2720F4D5D99C}"/>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Oval 14">
              <a:extLst>
                <a:ext uri="{FF2B5EF4-FFF2-40B4-BE49-F238E27FC236}">
                  <a16:creationId xmlns:a16="http://schemas.microsoft.com/office/drawing/2014/main" id="{7BBF4286-8421-44F4-AEC4-5077219CFB77}"/>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Circle: Hollow 15">
              <a:extLst>
                <a:ext uri="{FF2B5EF4-FFF2-40B4-BE49-F238E27FC236}">
                  <a16:creationId xmlns:a16="http://schemas.microsoft.com/office/drawing/2014/main" id="{EFED5782-2621-4512-8A45-DE47726246A5}"/>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7" name="Oval 16">
              <a:extLst>
                <a:ext uri="{FF2B5EF4-FFF2-40B4-BE49-F238E27FC236}">
                  <a16:creationId xmlns:a16="http://schemas.microsoft.com/office/drawing/2014/main" id="{FF583398-3426-42D1-815C-310F9ABFE4BD}"/>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80BE6341-C3C8-4F53-963D-F29934F22E3D}"/>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619D7686-861A-4A07-84AC-8988F0884144}"/>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Circle: Hollow 19">
              <a:extLst>
                <a:ext uri="{FF2B5EF4-FFF2-40B4-BE49-F238E27FC236}">
                  <a16:creationId xmlns:a16="http://schemas.microsoft.com/office/drawing/2014/main" id="{08D9A70A-59D0-46D3-9D08-3634FD7F1703}"/>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Circle: Hollow 20">
              <a:extLst>
                <a:ext uri="{FF2B5EF4-FFF2-40B4-BE49-F238E27FC236}">
                  <a16:creationId xmlns:a16="http://schemas.microsoft.com/office/drawing/2014/main" id="{84BDDEE6-33B5-4006-8C17-BDB035DD01AD}"/>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Oval 21">
              <a:extLst>
                <a:ext uri="{FF2B5EF4-FFF2-40B4-BE49-F238E27FC236}">
                  <a16:creationId xmlns:a16="http://schemas.microsoft.com/office/drawing/2014/main" id="{F358D785-F1B4-4DD5-94EB-3235FA7F6875}"/>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B08EE7F6-076F-4D93-AD7D-A61B733B7E02}"/>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BEFA4C30-62D4-477A-A6DB-02750BA0A1F8}"/>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CA33E31B-D6EC-4253-8C29-24EE33940D2C}"/>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6" name="Circle: Hollow 25">
              <a:extLst>
                <a:ext uri="{FF2B5EF4-FFF2-40B4-BE49-F238E27FC236}">
                  <a16:creationId xmlns:a16="http://schemas.microsoft.com/office/drawing/2014/main" id="{D738AF29-7576-4D48-8709-6DA0929506FC}"/>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7" name="Oval 26">
              <a:extLst>
                <a:ext uri="{FF2B5EF4-FFF2-40B4-BE49-F238E27FC236}">
                  <a16:creationId xmlns:a16="http://schemas.microsoft.com/office/drawing/2014/main" id="{733DC169-90EC-4BF0-B7DD-90E78BF8F2B8}"/>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3148F100-A352-4849-B456-2937885CCB96}"/>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0540FF2B-C7CD-4698-9697-56EE132D71DD}"/>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062772A6-E0A1-4381-BAA9-90C0927A948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7156ED00-4FAC-431E-AC3B-E27166E85A3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6347B9F0-2CDB-42E7-9878-B83E2E90BF23}"/>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FE949F0D-B1E8-4F39-AF33-CE1331BCAABB}"/>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5C686CBE-7764-4AC6-B24B-45A23BFD3EE7}"/>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C1C87805-910C-413A-95AE-5BFF2867812D}"/>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6" name="Oval 35">
              <a:extLst>
                <a:ext uri="{FF2B5EF4-FFF2-40B4-BE49-F238E27FC236}">
                  <a16:creationId xmlns:a16="http://schemas.microsoft.com/office/drawing/2014/main" id="{A44C93A3-C08C-484B-A04F-47F7D5DF5A1F}"/>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E0F4B9F9-B2D4-44BA-B93F-BDB266263FF3}"/>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0441CCC0-63A0-4E6C-A75C-E7C19ACD7D82}"/>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3FDE5369-3494-44C3-AD82-73F7F55558A2}"/>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1675B0AF-342F-4567-AF36-EE408405D012}"/>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B70EB615-D6DD-4F90-BB25-13D4183CB92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2" name="Oval 41">
              <a:extLst>
                <a:ext uri="{FF2B5EF4-FFF2-40B4-BE49-F238E27FC236}">
                  <a16:creationId xmlns:a16="http://schemas.microsoft.com/office/drawing/2014/main" id="{10635603-06E9-47E7-A4B4-9338D68F6BD1}"/>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92FDEA22-6AB8-4599-8BF8-939E903AD063}"/>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DF884DE7-D691-4DC8-840F-9AC707FABEA0}"/>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D9B360CA-B082-4DB8-B91D-7F27636A9410}"/>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5C21C763-24B4-43A8-8E34-E475A34FE828}"/>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9FC415E4-06EB-4B1F-98A5-3EAC7E701239}"/>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7C7325B8-C8BD-4107-A7B6-DB468D0781E1}"/>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42CFF533-113C-454B-BA3B-D668F5DB6C42}"/>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229653B6-1785-4649-8F48-97DE2B192C99}"/>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CC889914-18C6-4DE7-8EC2-F62CB29F2059}"/>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Circle: Hollow 51">
              <a:extLst>
                <a:ext uri="{FF2B5EF4-FFF2-40B4-BE49-F238E27FC236}">
                  <a16:creationId xmlns:a16="http://schemas.microsoft.com/office/drawing/2014/main" id="{AFAB4A5F-1A4C-4048-9DC6-697664180D6C}"/>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3" name="Circle: Hollow 52">
              <a:extLst>
                <a:ext uri="{FF2B5EF4-FFF2-40B4-BE49-F238E27FC236}">
                  <a16:creationId xmlns:a16="http://schemas.microsoft.com/office/drawing/2014/main" id="{70CA7F9B-063D-46CC-86B7-A13247F54CF1}"/>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173A5332-604C-2B59-5144-AA9C2199535B}"/>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5C1EFA21-BC10-2786-CC43-5CF7533353C0}"/>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145916BA-E4DA-AD0D-6D8C-0BF33AF6412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669578F1-2F79-9D0D-8EB1-67C1B692FA85}"/>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CD36F742-708A-4B31-CEDB-0AB6F41B93FB}"/>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9037249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ANSITION PAGE WE 4">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204">
            <a:extLst>
              <a:ext uri="{FF2B5EF4-FFF2-40B4-BE49-F238E27FC236}">
                <a16:creationId xmlns:a16="http://schemas.microsoft.com/office/drawing/2014/main" id="{78B21EA6-36D0-435A-9C96-0841F750FB0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61528" y="-294381"/>
            <a:ext cx="4732119" cy="4732119"/>
          </a:xfrm>
          <a:prstGeom prst="ellipse">
            <a:avLst/>
          </a:prstGeom>
          <a:ln>
            <a:noFill/>
          </a:ln>
        </p:spPr>
      </p:pic>
    </p:spTree>
    <p:extLst>
      <p:ext uri="{BB962C8B-B14F-4D97-AF65-F5344CB8AC3E}">
        <p14:creationId xmlns:p14="http://schemas.microsoft.com/office/powerpoint/2010/main" val="40969023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RANSITION PAGE OTHER 1">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54905" y="-480941"/>
            <a:ext cx="5102140" cy="5052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BF3B4B">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C00000"/>
              </a:gs>
              <a:gs pos="94000">
                <a:srgbClr val="BF3B4B">
                  <a:alpha val="44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hasCustomPrompt="1"/>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chapter tit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2" name="Picture Placeholder 5" descr="A picture containing text, clipart&#10;&#10;Description automatically generated">
            <a:extLst>
              <a:ext uri="{FF2B5EF4-FFF2-40B4-BE49-F238E27FC236}">
                <a16:creationId xmlns:a16="http://schemas.microsoft.com/office/drawing/2014/main" id="{D50915DD-5EE5-49E3-8AC8-C442BCE6948C}"/>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48828" y="-299292"/>
            <a:ext cx="4732119" cy="4732119"/>
          </a:xfrm>
          <a:prstGeom prst="ellipse">
            <a:avLst/>
          </a:prstGeom>
          <a:ln>
            <a:noFill/>
          </a:ln>
        </p:spPr>
      </p:pic>
      <p:sp>
        <p:nvSpPr>
          <p:cNvPr id="2" name="Slide Number Placeholder 1">
            <a:extLst>
              <a:ext uri="{FF2B5EF4-FFF2-40B4-BE49-F238E27FC236}">
                <a16:creationId xmlns:a16="http://schemas.microsoft.com/office/drawing/2014/main" id="{39C4D562-B351-3234-D2A9-B78962A279BF}"/>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077917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ANSITION PAGE OTHER 2">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10" name="Oval 109">
            <a:extLst>
              <a:ext uri="{FF2B5EF4-FFF2-40B4-BE49-F238E27FC236}">
                <a16:creationId xmlns:a16="http://schemas.microsoft.com/office/drawing/2014/main" id="{E3762589-BB20-41D7-9EA0-22192AF99EB4}"/>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FFC000"/>
              </a:gs>
              <a:gs pos="94000">
                <a:srgbClr val="FFC000">
                  <a:alpha val="41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7">
            <a:extLst>
              <a:ext uri="{FF2B5EF4-FFF2-40B4-BE49-F238E27FC236}">
                <a16:creationId xmlns:a16="http://schemas.microsoft.com/office/drawing/2014/main" id="{4CDEE063-EA26-468A-AFDA-44D797D69B8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56214" y="-288031"/>
            <a:ext cx="4732119" cy="4732119"/>
          </a:xfrm>
          <a:prstGeom prst="ellipse">
            <a:avLst/>
          </a:prstGeom>
          <a:ln>
            <a:noFill/>
          </a:ln>
        </p:spPr>
      </p:pic>
      <p:sp>
        <p:nvSpPr>
          <p:cNvPr id="2" name="Slide Number Placeholder 1">
            <a:extLst>
              <a:ext uri="{FF2B5EF4-FFF2-40B4-BE49-F238E27FC236}">
                <a16:creationId xmlns:a16="http://schemas.microsoft.com/office/drawing/2014/main" id="{6D285450-C345-8C8B-3724-8BCCF9F829F9}"/>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3280221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RANSITION PAGE OTHER 3">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Picture 12" descr="Shape, circle&#10;&#10;Description automatically generated">
            <a:extLst>
              <a:ext uri="{FF2B5EF4-FFF2-40B4-BE49-F238E27FC236}">
                <a16:creationId xmlns:a16="http://schemas.microsoft.com/office/drawing/2014/main" id="{8CDF34EE-5BBA-4686-B63F-BD22165AEBD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2" name="Oval 11">
            <a:extLst>
              <a:ext uri="{FF2B5EF4-FFF2-40B4-BE49-F238E27FC236}">
                <a16:creationId xmlns:a16="http://schemas.microsoft.com/office/drawing/2014/main" id="{5F8480B8-80C3-43B8-A629-C680F60D2ED5}"/>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rgbClr val="00AEEF"/>
              </a:gs>
              <a:gs pos="94000">
                <a:srgbClr val="00AEEF">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8" name="Title Placeholder 1"/>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4" name="Picture 13" descr="Shape, circle&#10;&#10;Description automatically generated">
            <a:extLst>
              <a:ext uri="{FF2B5EF4-FFF2-40B4-BE49-F238E27FC236}">
                <a16:creationId xmlns:a16="http://schemas.microsoft.com/office/drawing/2014/main" id="{CF2A400B-9495-41FA-97C0-2EA592BD399B}"/>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pic>
        <p:nvPicPr>
          <p:cNvPr id="15" name="Picture Placeholder 13">
            <a:extLst>
              <a:ext uri="{FF2B5EF4-FFF2-40B4-BE49-F238E27FC236}">
                <a16:creationId xmlns:a16="http://schemas.microsoft.com/office/drawing/2014/main" id="{77E1F9EE-A329-483E-8900-3AECA7CA9EFE}"/>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245854" y="-294381"/>
            <a:ext cx="4732119" cy="4732119"/>
          </a:xfrm>
          <a:prstGeom prst="ellipse">
            <a:avLst/>
          </a:prstGeom>
          <a:ln>
            <a:noFill/>
          </a:ln>
        </p:spPr>
      </p:pic>
      <p:sp>
        <p:nvSpPr>
          <p:cNvPr id="2" name="Slide Number Placeholder 1">
            <a:extLst>
              <a:ext uri="{FF2B5EF4-FFF2-40B4-BE49-F238E27FC236}">
                <a16:creationId xmlns:a16="http://schemas.microsoft.com/office/drawing/2014/main" id="{25F7000C-87CF-EB96-B2C5-5F187B96EE0F}"/>
              </a:ext>
            </a:extLst>
          </p:cNvPr>
          <p:cNvSpPr>
            <a:spLocks noGrp="1"/>
          </p:cNvSpPr>
          <p:nvPr>
            <p:ph type="sldNum" sz="quarter" idx="10"/>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0090408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RANSITION PAGE 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8FBA3F-6694-4D1B-97E5-41CC2883DF42}"/>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10">
            <a:extLst>
              <a:ext uri="{FF2B5EF4-FFF2-40B4-BE49-F238E27FC236}">
                <a16:creationId xmlns:a16="http://schemas.microsoft.com/office/drawing/2014/main" id="{4F3AD07B-FDC4-429D-9D4D-FE35D68BA601}"/>
              </a:ext>
            </a:extLst>
          </p:cNvPr>
          <p:cNvSpPr/>
          <p:nvPr userDrawn="1"/>
        </p:nvSpPr>
        <p:spPr>
          <a:xfrm>
            <a:off x="0" y="0"/>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Picture 13" descr="Shape, circle&#10;&#10;Description automatically generated">
            <a:extLst>
              <a:ext uri="{FF2B5EF4-FFF2-40B4-BE49-F238E27FC236}">
                <a16:creationId xmlns:a16="http://schemas.microsoft.com/office/drawing/2014/main" id="{6FD64248-CA7C-43DF-8841-6CBDF67BBA6D}"/>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rot="10800000" flipH="1">
            <a:off x="398001" y="514554"/>
            <a:ext cx="7010155" cy="6149018"/>
          </a:xfrm>
          <a:prstGeom prst="rect">
            <a:avLst/>
          </a:prstGeom>
        </p:spPr>
      </p:pic>
      <p:sp>
        <p:nvSpPr>
          <p:cNvPr id="13" name="Oval 12">
            <a:extLst>
              <a:ext uri="{FF2B5EF4-FFF2-40B4-BE49-F238E27FC236}">
                <a16:creationId xmlns:a16="http://schemas.microsoft.com/office/drawing/2014/main" id="{937CCF2B-AE90-4BCD-9D59-A4373A3ACC6D}"/>
              </a:ext>
            </a:extLst>
          </p:cNvPr>
          <p:cNvSpPr>
            <a:spLocks noChangeAspect="1"/>
          </p:cNvSpPr>
          <p:nvPr userDrawn="1"/>
        </p:nvSpPr>
        <p:spPr>
          <a:xfrm>
            <a:off x="-482527" y="-519041"/>
            <a:ext cx="5193418" cy="51433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Circle: Hollow 63">
            <a:extLst>
              <a:ext uri="{FF2B5EF4-FFF2-40B4-BE49-F238E27FC236}">
                <a16:creationId xmlns:a16="http://schemas.microsoft.com/office/drawing/2014/main" id="{B6C7FE4E-CB15-4251-8029-7682CA01BBBB}"/>
              </a:ext>
            </a:extLst>
          </p:cNvPr>
          <p:cNvSpPr>
            <a:spLocks noChangeAspect="1"/>
          </p:cNvSpPr>
          <p:nvPr userDrawn="1"/>
        </p:nvSpPr>
        <p:spPr>
          <a:xfrm>
            <a:off x="-654135" y="-660388"/>
            <a:ext cx="5517335" cy="5464134"/>
          </a:xfrm>
          <a:prstGeom prst="donut">
            <a:avLst>
              <a:gd name="adj" fmla="val 1425"/>
            </a:avLst>
          </a:prstGeom>
          <a:solidFill>
            <a:schemeClr val="tx1">
              <a:lumMod val="50000"/>
              <a:lumOff val="5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4">
                  <a:lumMod val="60000"/>
                  <a:lumOff val="40000"/>
                </a:schemeClr>
              </a:solidFill>
            </a:endParaRPr>
          </a:p>
        </p:txBody>
      </p:sp>
      <p:sp>
        <p:nvSpPr>
          <p:cNvPr id="65" name="Circle: Hollow 64">
            <a:extLst>
              <a:ext uri="{FF2B5EF4-FFF2-40B4-BE49-F238E27FC236}">
                <a16:creationId xmlns:a16="http://schemas.microsoft.com/office/drawing/2014/main" id="{B80E0F85-EC39-4957-B266-1E1B79F72FA2}"/>
              </a:ext>
            </a:extLst>
          </p:cNvPr>
          <p:cNvSpPr>
            <a:spLocks noChangeAspect="1"/>
          </p:cNvSpPr>
          <p:nvPr userDrawn="1"/>
        </p:nvSpPr>
        <p:spPr>
          <a:xfrm>
            <a:off x="-511411" y="-519041"/>
            <a:ext cx="5231889" cy="5181440"/>
          </a:xfrm>
          <a:prstGeom prst="donut">
            <a:avLst>
              <a:gd name="adj" fmla="val 2682"/>
            </a:avLst>
          </a:prstGeom>
          <a:gradFill flip="none" rotWithShape="1">
            <a:gsLst>
              <a:gs pos="0">
                <a:schemeClr val="tx1">
                  <a:lumMod val="50000"/>
                  <a:lumOff val="50000"/>
                  <a:alpha val="69000"/>
                </a:schemeClr>
              </a:gs>
              <a:gs pos="63000">
                <a:schemeClr val="bg1">
                  <a:lumMod val="65000"/>
                  <a:alpha val="47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14" descr="Shape, circle&#10;&#10;Description automatically generated">
            <a:extLst>
              <a:ext uri="{FF2B5EF4-FFF2-40B4-BE49-F238E27FC236}">
                <a16:creationId xmlns:a16="http://schemas.microsoft.com/office/drawing/2014/main" id="{FE98D32E-5A0E-479F-82DC-AD357EC1263C}"/>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rcRect/>
          <a:stretch/>
        </p:blipFill>
        <p:spPr>
          <a:xfrm rot="16200000" flipV="1">
            <a:off x="9121113" y="-203466"/>
            <a:ext cx="2867426" cy="3274353"/>
          </a:xfrm>
          <a:prstGeom prst="rect">
            <a:avLst/>
          </a:prstGeom>
        </p:spPr>
      </p:pic>
      <p:sp>
        <p:nvSpPr>
          <p:cNvPr id="16" name="Title Placeholder 1">
            <a:extLst>
              <a:ext uri="{FF2B5EF4-FFF2-40B4-BE49-F238E27FC236}">
                <a16:creationId xmlns:a16="http://schemas.microsoft.com/office/drawing/2014/main" id="{A553C083-E55A-4094-8B49-FECA80473FB9}"/>
              </a:ext>
            </a:extLst>
          </p:cNvPr>
          <p:cNvSpPr>
            <a:spLocks noGrp="1"/>
          </p:cNvSpPr>
          <p:nvPr>
            <p:ph type="title"/>
          </p:nvPr>
        </p:nvSpPr>
        <p:spPr>
          <a:xfrm>
            <a:off x="6096000" y="4344832"/>
            <a:ext cx="5947586" cy="706438"/>
          </a:xfrm>
          <a:prstGeom prst="rect">
            <a:avLst/>
          </a:prstGeom>
        </p:spPr>
        <p:txBody>
          <a:bodyPr vert="horz" lIns="91440" tIns="45720" rIns="91440" bIns="45720" rtlCol="0" anchor="ctr">
            <a:noAutofit/>
          </a:bodyPr>
          <a:lstStyle>
            <a:lvl1pPr algn="l">
              <a:defRPr sz="5400" b="1">
                <a:solidFill>
                  <a:schemeClr val="accent4">
                    <a:lumMod val="75000"/>
                  </a:schemeClr>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12" name="Picture Placeholder 2">
            <a:extLst>
              <a:ext uri="{FF2B5EF4-FFF2-40B4-BE49-F238E27FC236}">
                <a16:creationId xmlns:a16="http://schemas.microsoft.com/office/drawing/2014/main" id="{DE30343A-8BB0-43F9-922D-7031CC16589B}"/>
              </a:ext>
            </a:extLst>
          </p:cNvPr>
          <p:cNvSpPr>
            <a:spLocks noGrp="1" noChangeAspect="1"/>
          </p:cNvSpPr>
          <p:nvPr>
            <p:ph type="pic" sz="quarter" idx="10"/>
          </p:nvPr>
        </p:nvSpPr>
        <p:spPr>
          <a:xfrm>
            <a:off x="-271254" y="-294381"/>
            <a:ext cx="4732119" cy="4732119"/>
          </a:xfrm>
          <a:prstGeom prst="ellipse">
            <a:avLst/>
          </a:prstGeom>
          <a:ln>
            <a:noFill/>
          </a:ln>
        </p:spPr>
        <p:txBody>
          <a:bodyPr/>
          <a:lstStyle/>
          <a:p>
            <a:endParaRPr lang="nl-NL"/>
          </a:p>
        </p:txBody>
      </p:sp>
      <p:sp>
        <p:nvSpPr>
          <p:cNvPr id="2" name="Slide Number Placeholder 1">
            <a:extLst>
              <a:ext uri="{FF2B5EF4-FFF2-40B4-BE49-F238E27FC236}">
                <a16:creationId xmlns:a16="http://schemas.microsoft.com/office/drawing/2014/main" id="{1428E46F-7D85-7967-F4DE-989B988270E5}"/>
              </a:ext>
            </a:extLst>
          </p:cNvPr>
          <p:cNvSpPr>
            <a:spLocks noGrp="1"/>
          </p:cNvSpPr>
          <p:nvPr>
            <p:ph type="sldNum" sz="quarter" idx="11"/>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576235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PAGE NO IMAG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FF037FB-6F29-464F-B02A-E8152D1056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19" name="Rectangle: Rounded Corners 18">
            <a:extLst>
              <a:ext uri="{FF2B5EF4-FFF2-40B4-BE49-F238E27FC236}">
                <a16:creationId xmlns:a16="http://schemas.microsoft.com/office/drawing/2014/main" id="{7534800E-A18B-4128-B4E9-8D8C6446D900}"/>
              </a:ext>
            </a:extLst>
          </p:cNvPr>
          <p:cNvSpPr/>
          <p:nvPr userDrawn="1"/>
        </p:nvSpPr>
        <p:spPr>
          <a:xfrm>
            <a:off x="797778" y="1438617"/>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4164AEC0-E358-4EB4-AB5A-6690F3791865}"/>
              </a:ext>
            </a:extLst>
          </p:cNvPr>
          <p:cNvSpPr/>
          <p:nvPr userDrawn="1"/>
        </p:nvSpPr>
        <p:spPr>
          <a:xfrm>
            <a:off x="7146328" y="1438617"/>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3032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3984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AFCBA749-C4B2-47AC-9C03-3197F3AFCEA7}"/>
              </a:ext>
            </a:extLst>
          </p:cNvPr>
          <p:cNvSpPr/>
          <p:nvPr userDrawn="1"/>
        </p:nvSpPr>
        <p:spPr>
          <a:xfrm>
            <a:off x="3962995" y="1438617"/>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5F0F26E2-6984-497F-8C8D-A3D6BEA48D1F}"/>
              </a:ext>
            </a:extLst>
          </p:cNvPr>
          <p:cNvSpPr>
            <a:spLocks noChangeAspect="1"/>
          </p:cNvSpPr>
          <p:nvPr userDrawn="1"/>
        </p:nvSpPr>
        <p:spPr>
          <a:xfrm>
            <a:off x="9805968" y="3941728"/>
            <a:ext cx="1397331" cy="1383857"/>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Circle: Hollow 22">
            <a:extLst>
              <a:ext uri="{FF2B5EF4-FFF2-40B4-BE49-F238E27FC236}">
                <a16:creationId xmlns:a16="http://schemas.microsoft.com/office/drawing/2014/main" id="{5A7EBCD1-E692-4D90-ACF4-D8EE45581A6E}"/>
              </a:ext>
            </a:extLst>
          </p:cNvPr>
          <p:cNvSpPr>
            <a:spLocks noChangeAspect="1"/>
          </p:cNvSpPr>
          <p:nvPr userDrawn="1"/>
        </p:nvSpPr>
        <p:spPr>
          <a:xfrm>
            <a:off x="9464100" y="3596277"/>
            <a:ext cx="2081068" cy="2061001"/>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170B96ED-B0F5-471C-B4A4-CA83B23B03F9}"/>
              </a:ext>
            </a:extLst>
          </p:cNvPr>
          <p:cNvSpPr>
            <a:spLocks noChangeAspect="1"/>
          </p:cNvSpPr>
          <p:nvPr userDrawn="1"/>
        </p:nvSpPr>
        <p:spPr>
          <a:xfrm>
            <a:off x="9034255" y="4793407"/>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F71F4BA5-F1C8-464D-A35E-C600990EED94}"/>
              </a:ext>
            </a:extLst>
          </p:cNvPr>
          <p:cNvSpPr>
            <a:spLocks noChangeAspect="1"/>
          </p:cNvSpPr>
          <p:nvPr userDrawn="1"/>
        </p:nvSpPr>
        <p:spPr>
          <a:xfrm>
            <a:off x="9447509" y="5325585"/>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tangle: Rounded Corners 1">
            <a:extLst>
              <a:ext uri="{FF2B5EF4-FFF2-40B4-BE49-F238E27FC236}">
                <a16:creationId xmlns:a16="http://schemas.microsoft.com/office/drawing/2014/main" id="{CD65B6EF-40AB-0848-A310-F92F5854F7E7}"/>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xt Placeholder 4">
            <a:extLst>
              <a:ext uri="{FF2B5EF4-FFF2-40B4-BE49-F238E27FC236}">
                <a16:creationId xmlns:a16="http://schemas.microsoft.com/office/drawing/2014/main" id="{5B73281A-F13D-4ACD-E808-457C8297DE5D}"/>
              </a:ext>
            </a:extLst>
          </p:cNvPr>
          <p:cNvSpPr>
            <a:spLocks noGrp="1"/>
          </p:cNvSpPr>
          <p:nvPr>
            <p:ph type="body" sz="quarter" idx="11"/>
          </p:nvPr>
        </p:nvSpPr>
        <p:spPr>
          <a:xfrm>
            <a:off x="764506" y="2158097"/>
            <a:ext cx="8137980" cy="421859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4" name="Slide Number Placeholder 3">
            <a:extLst>
              <a:ext uri="{FF2B5EF4-FFF2-40B4-BE49-F238E27FC236}">
                <a16:creationId xmlns:a16="http://schemas.microsoft.com/office/drawing/2014/main" id="{BD7F1694-7EE8-2A17-9795-81B06C25DF36}"/>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19973917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PAGE NO IMAG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FF037FB-6F29-464F-B02A-E8152D1056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19" name="Rectangle: Rounded Corners 18">
            <a:extLst>
              <a:ext uri="{FF2B5EF4-FFF2-40B4-BE49-F238E27FC236}">
                <a16:creationId xmlns:a16="http://schemas.microsoft.com/office/drawing/2014/main" id="{7534800E-A18B-4128-B4E9-8D8C6446D900}"/>
              </a:ext>
            </a:extLst>
          </p:cNvPr>
          <p:cNvSpPr/>
          <p:nvPr userDrawn="1"/>
        </p:nvSpPr>
        <p:spPr>
          <a:xfrm>
            <a:off x="797778" y="1438617"/>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AFCBA749-C4B2-47AC-9C03-3197F3AFCEA7}"/>
              </a:ext>
            </a:extLst>
          </p:cNvPr>
          <p:cNvSpPr/>
          <p:nvPr userDrawn="1"/>
        </p:nvSpPr>
        <p:spPr>
          <a:xfrm>
            <a:off x="3962995" y="1438617"/>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3032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3984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4164AEC0-E358-4EB4-AB5A-6690F3791865}"/>
              </a:ext>
            </a:extLst>
          </p:cNvPr>
          <p:cNvSpPr/>
          <p:nvPr userDrawn="1"/>
        </p:nvSpPr>
        <p:spPr>
          <a:xfrm>
            <a:off x="7146328" y="1438617"/>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5" name="Oval 64">
            <a:extLst>
              <a:ext uri="{FF2B5EF4-FFF2-40B4-BE49-F238E27FC236}">
                <a16:creationId xmlns:a16="http://schemas.microsoft.com/office/drawing/2014/main" id="{F4B32B3B-A5F6-4E29-BB11-FAD5271B3BCA}"/>
              </a:ext>
            </a:extLst>
          </p:cNvPr>
          <p:cNvSpPr>
            <a:spLocks noChangeAspect="1"/>
          </p:cNvSpPr>
          <p:nvPr userDrawn="1"/>
        </p:nvSpPr>
        <p:spPr>
          <a:xfrm>
            <a:off x="9805968" y="3941728"/>
            <a:ext cx="1397331" cy="1383857"/>
          </a:xfrm>
          <a:prstGeom prst="ellipse">
            <a:avLst/>
          </a:prstGeom>
          <a:gradFill flip="none" rotWithShape="1">
            <a:gsLst>
              <a:gs pos="0">
                <a:schemeClr val="accent4">
                  <a:lumMod val="75000"/>
                  <a:alpha val="96000"/>
                </a:schemeClr>
              </a:gs>
              <a:gs pos="65000">
                <a:srgbClr val="FFC000">
                  <a:alpha val="6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6" name="Circle: Hollow 65">
            <a:extLst>
              <a:ext uri="{FF2B5EF4-FFF2-40B4-BE49-F238E27FC236}">
                <a16:creationId xmlns:a16="http://schemas.microsoft.com/office/drawing/2014/main" id="{841022AF-BF8D-4CD1-B085-8A7B4547899A}"/>
              </a:ext>
            </a:extLst>
          </p:cNvPr>
          <p:cNvSpPr>
            <a:spLocks noChangeAspect="1"/>
          </p:cNvSpPr>
          <p:nvPr userDrawn="1"/>
        </p:nvSpPr>
        <p:spPr>
          <a:xfrm>
            <a:off x="9464100" y="3596277"/>
            <a:ext cx="2081068" cy="2061001"/>
          </a:xfrm>
          <a:prstGeom prst="donut">
            <a:avLst>
              <a:gd name="adj" fmla="val 5617"/>
            </a:avLst>
          </a:prstGeom>
          <a:gradFill flip="none" rotWithShape="1">
            <a:gsLst>
              <a:gs pos="0">
                <a:schemeClr val="accent4">
                  <a:lumMod val="75000"/>
                  <a:alpha val="96000"/>
                </a:schemeClr>
              </a:gs>
              <a:gs pos="65000">
                <a:srgbClr val="FFC000">
                  <a:alpha val="6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67" name="Oval 66">
            <a:extLst>
              <a:ext uri="{FF2B5EF4-FFF2-40B4-BE49-F238E27FC236}">
                <a16:creationId xmlns:a16="http://schemas.microsoft.com/office/drawing/2014/main" id="{614CB323-962F-4480-9FA2-E59FDE853C95}"/>
              </a:ext>
            </a:extLst>
          </p:cNvPr>
          <p:cNvSpPr>
            <a:spLocks noChangeAspect="1"/>
          </p:cNvSpPr>
          <p:nvPr userDrawn="1"/>
        </p:nvSpPr>
        <p:spPr>
          <a:xfrm>
            <a:off x="9034255" y="4793407"/>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9" name="Oval 68">
            <a:extLst>
              <a:ext uri="{FF2B5EF4-FFF2-40B4-BE49-F238E27FC236}">
                <a16:creationId xmlns:a16="http://schemas.microsoft.com/office/drawing/2014/main" id="{93271725-8EAA-4D8B-8B10-F2593AB294D3}"/>
              </a:ext>
            </a:extLst>
          </p:cNvPr>
          <p:cNvSpPr>
            <a:spLocks noChangeAspect="1"/>
          </p:cNvSpPr>
          <p:nvPr userDrawn="1"/>
        </p:nvSpPr>
        <p:spPr>
          <a:xfrm>
            <a:off x="9447509" y="5325585"/>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tangle: Rounded Corners 1">
            <a:extLst>
              <a:ext uri="{FF2B5EF4-FFF2-40B4-BE49-F238E27FC236}">
                <a16:creationId xmlns:a16="http://schemas.microsoft.com/office/drawing/2014/main" id="{51863DD1-61D7-A8C0-4743-A27221093B2B}"/>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xt Placeholder 4">
            <a:extLst>
              <a:ext uri="{FF2B5EF4-FFF2-40B4-BE49-F238E27FC236}">
                <a16:creationId xmlns:a16="http://schemas.microsoft.com/office/drawing/2014/main" id="{6C592046-1FC5-5131-BA70-2DFA7B9AC80E}"/>
              </a:ext>
            </a:extLst>
          </p:cNvPr>
          <p:cNvSpPr>
            <a:spLocks noGrp="1"/>
          </p:cNvSpPr>
          <p:nvPr>
            <p:ph type="body" sz="quarter" idx="11"/>
          </p:nvPr>
        </p:nvSpPr>
        <p:spPr>
          <a:xfrm>
            <a:off x="764506" y="2158097"/>
            <a:ext cx="8137980" cy="421859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4" name="Slide Number Placeholder 3">
            <a:extLst>
              <a:ext uri="{FF2B5EF4-FFF2-40B4-BE49-F238E27FC236}">
                <a16:creationId xmlns:a16="http://schemas.microsoft.com/office/drawing/2014/main" id="{75BFCA33-7768-BE6A-7593-456240C10343}"/>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30701873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PAGE NO IMAG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FF037FB-6F29-464F-B02A-E8152D1056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9" name="Rectangle: Rounded Corners 8">
            <a:extLst>
              <a:ext uri="{FF2B5EF4-FFF2-40B4-BE49-F238E27FC236}">
                <a16:creationId xmlns:a16="http://schemas.microsoft.com/office/drawing/2014/main" id="{AFCBA749-C4B2-47AC-9C03-3197F3AFCEA7}"/>
              </a:ext>
            </a:extLst>
          </p:cNvPr>
          <p:cNvSpPr/>
          <p:nvPr userDrawn="1"/>
        </p:nvSpPr>
        <p:spPr>
          <a:xfrm>
            <a:off x="3962995" y="1438617"/>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4164AEC0-E358-4EB4-AB5A-6690F3791865}"/>
              </a:ext>
            </a:extLst>
          </p:cNvPr>
          <p:cNvSpPr/>
          <p:nvPr userDrawn="1"/>
        </p:nvSpPr>
        <p:spPr>
          <a:xfrm>
            <a:off x="7146328" y="1438617"/>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3032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3984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Rectangle: Rounded Corners 18">
            <a:extLst>
              <a:ext uri="{FF2B5EF4-FFF2-40B4-BE49-F238E27FC236}">
                <a16:creationId xmlns:a16="http://schemas.microsoft.com/office/drawing/2014/main" id="{7534800E-A18B-4128-B4E9-8D8C6446D900}"/>
              </a:ext>
            </a:extLst>
          </p:cNvPr>
          <p:cNvSpPr/>
          <p:nvPr userDrawn="1"/>
        </p:nvSpPr>
        <p:spPr>
          <a:xfrm>
            <a:off x="797778" y="1438617"/>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5" name="Oval 64">
            <a:extLst>
              <a:ext uri="{FF2B5EF4-FFF2-40B4-BE49-F238E27FC236}">
                <a16:creationId xmlns:a16="http://schemas.microsoft.com/office/drawing/2014/main" id="{F4B32B3B-A5F6-4E29-BB11-FAD5271B3BCA}"/>
              </a:ext>
            </a:extLst>
          </p:cNvPr>
          <p:cNvSpPr>
            <a:spLocks noChangeAspect="1"/>
          </p:cNvSpPr>
          <p:nvPr userDrawn="1"/>
        </p:nvSpPr>
        <p:spPr>
          <a:xfrm>
            <a:off x="9805968" y="3941728"/>
            <a:ext cx="1397331" cy="1383857"/>
          </a:xfrm>
          <a:prstGeom prst="ellipse">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6" name="Circle: Hollow 65">
            <a:extLst>
              <a:ext uri="{FF2B5EF4-FFF2-40B4-BE49-F238E27FC236}">
                <a16:creationId xmlns:a16="http://schemas.microsoft.com/office/drawing/2014/main" id="{841022AF-BF8D-4CD1-B085-8A7B4547899A}"/>
              </a:ext>
            </a:extLst>
          </p:cNvPr>
          <p:cNvSpPr>
            <a:spLocks noChangeAspect="1"/>
          </p:cNvSpPr>
          <p:nvPr userDrawn="1"/>
        </p:nvSpPr>
        <p:spPr>
          <a:xfrm>
            <a:off x="9464100" y="3596277"/>
            <a:ext cx="2081068" cy="2061001"/>
          </a:xfrm>
          <a:prstGeom prst="donut">
            <a:avLst>
              <a:gd name="adj" fmla="val 5617"/>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67" name="Oval 66">
            <a:extLst>
              <a:ext uri="{FF2B5EF4-FFF2-40B4-BE49-F238E27FC236}">
                <a16:creationId xmlns:a16="http://schemas.microsoft.com/office/drawing/2014/main" id="{614CB323-962F-4480-9FA2-E59FDE853C95}"/>
              </a:ext>
            </a:extLst>
          </p:cNvPr>
          <p:cNvSpPr>
            <a:spLocks noChangeAspect="1"/>
          </p:cNvSpPr>
          <p:nvPr userDrawn="1"/>
        </p:nvSpPr>
        <p:spPr>
          <a:xfrm>
            <a:off x="9034255" y="4793407"/>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9" name="Oval 68">
            <a:extLst>
              <a:ext uri="{FF2B5EF4-FFF2-40B4-BE49-F238E27FC236}">
                <a16:creationId xmlns:a16="http://schemas.microsoft.com/office/drawing/2014/main" id="{93271725-8EAA-4D8B-8B10-F2593AB294D3}"/>
              </a:ext>
            </a:extLst>
          </p:cNvPr>
          <p:cNvSpPr>
            <a:spLocks noChangeAspect="1"/>
          </p:cNvSpPr>
          <p:nvPr userDrawn="1"/>
        </p:nvSpPr>
        <p:spPr>
          <a:xfrm>
            <a:off x="9447509" y="5325585"/>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Rectangle: Rounded Corners 1">
            <a:extLst>
              <a:ext uri="{FF2B5EF4-FFF2-40B4-BE49-F238E27FC236}">
                <a16:creationId xmlns:a16="http://schemas.microsoft.com/office/drawing/2014/main" id="{9E2A2B44-FAD8-7DA3-921C-BD17059B3701}"/>
              </a:ext>
            </a:extLst>
          </p:cNvPr>
          <p:cNvSpPr/>
          <p:nvPr userDrawn="1"/>
        </p:nvSpPr>
        <p:spPr>
          <a:xfrm>
            <a:off x="493502" y="17572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ext Placeholder 4">
            <a:extLst>
              <a:ext uri="{FF2B5EF4-FFF2-40B4-BE49-F238E27FC236}">
                <a16:creationId xmlns:a16="http://schemas.microsoft.com/office/drawing/2014/main" id="{21836720-11CF-F9C7-44CF-67C9EA64D7A2}"/>
              </a:ext>
            </a:extLst>
          </p:cNvPr>
          <p:cNvSpPr>
            <a:spLocks noGrp="1"/>
          </p:cNvSpPr>
          <p:nvPr>
            <p:ph type="body" sz="quarter" idx="11"/>
          </p:nvPr>
        </p:nvSpPr>
        <p:spPr>
          <a:xfrm>
            <a:off x="764506" y="2158097"/>
            <a:ext cx="8137980" cy="421859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4" name="Slide Number Placeholder 3">
            <a:extLst>
              <a:ext uri="{FF2B5EF4-FFF2-40B4-BE49-F238E27FC236}">
                <a16:creationId xmlns:a16="http://schemas.microsoft.com/office/drawing/2014/main" id="{EAEED896-2B9B-D0D8-CB9F-35FCA574CDB2}"/>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2597155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PAGE NO IMAG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3367314"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2769284"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3473073"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2769284"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3570281"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2769283"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Oval 18">
            <a:extLst>
              <a:ext uri="{FF2B5EF4-FFF2-40B4-BE49-F238E27FC236}">
                <a16:creationId xmlns:a16="http://schemas.microsoft.com/office/drawing/2014/main" id="{BBBA2604-BE15-4B2A-903F-5A925BB80784}"/>
              </a:ext>
            </a:extLst>
          </p:cNvPr>
          <p:cNvSpPr>
            <a:spLocks noChangeAspect="1"/>
          </p:cNvSpPr>
          <p:nvPr userDrawn="1"/>
        </p:nvSpPr>
        <p:spPr>
          <a:xfrm>
            <a:off x="10248656" y="515909"/>
            <a:ext cx="1223086" cy="1211292"/>
          </a:xfrm>
          <a:prstGeom prst="ellipse">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1FDA2510-B9CB-48AD-B6A5-484F1EF4C9AB}"/>
              </a:ext>
            </a:extLst>
          </p:cNvPr>
          <p:cNvSpPr>
            <a:spLocks noChangeAspect="1"/>
          </p:cNvSpPr>
          <p:nvPr userDrawn="1"/>
        </p:nvSpPr>
        <p:spPr>
          <a:xfrm>
            <a:off x="9899853" y="170458"/>
            <a:ext cx="1913758" cy="1895304"/>
          </a:xfrm>
          <a:prstGeom prst="donut">
            <a:avLst>
              <a:gd name="adj" fmla="val 5617"/>
            </a:avLst>
          </a:prstGeom>
          <a:gradFill flip="none" rotWithShape="1">
            <a:gsLst>
              <a:gs pos="0">
                <a:srgbClr val="BF3B4B">
                  <a:alpha val="89000"/>
                </a:srgbClr>
              </a:gs>
              <a:gs pos="65000">
                <a:srgbClr val="BF3B4B">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B21267DC-010D-438A-9044-BC46C9AA999A}"/>
              </a:ext>
            </a:extLst>
          </p:cNvPr>
          <p:cNvSpPr>
            <a:spLocks noChangeAspect="1"/>
          </p:cNvSpPr>
          <p:nvPr userDrawn="1"/>
        </p:nvSpPr>
        <p:spPr>
          <a:xfrm>
            <a:off x="11528795" y="1909836"/>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09216B03-6D3D-48E1-9C23-736A84702DD0}"/>
              </a:ext>
            </a:extLst>
          </p:cNvPr>
          <p:cNvSpPr>
            <a:spLocks noChangeAspect="1"/>
          </p:cNvSpPr>
          <p:nvPr userDrawn="1"/>
        </p:nvSpPr>
        <p:spPr>
          <a:xfrm>
            <a:off x="11392969" y="2511468"/>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F23EE819-298B-AB96-D0A8-4B5E2EDD87B4}"/>
              </a:ext>
            </a:extLst>
          </p:cNvPr>
          <p:cNvSpPr>
            <a:spLocks noGrp="1"/>
          </p:cNvSpPr>
          <p:nvPr>
            <p:ph type="body" sz="quarter" idx="11"/>
          </p:nvPr>
        </p:nvSpPr>
        <p:spPr>
          <a:xfrm>
            <a:off x="4054020" y="2127267"/>
            <a:ext cx="7278170" cy="4107666"/>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62C45AA-710D-1486-5094-D19ABD237CF1}"/>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14415265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AGE NO IMAGE 5">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3367314"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2769284"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3473073"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2769283"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3570281"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2769284"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Oval 18">
            <a:extLst>
              <a:ext uri="{FF2B5EF4-FFF2-40B4-BE49-F238E27FC236}">
                <a16:creationId xmlns:a16="http://schemas.microsoft.com/office/drawing/2014/main" id="{BBBA2604-BE15-4B2A-903F-5A925BB80784}"/>
              </a:ext>
            </a:extLst>
          </p:cNvPr>
          <p:cNvSpPr>
            <a:spLocks noChangeAspect="1"/>
          </p:cNvSpPr>
          <p:nvPr userDrawn="1"/>
        </p:nvSpPr>
        <p:spPr>
          <a:xfrm>
            <a:off x="10248656" y="515909"/>
            <a:ext cx="1223086" cy="1211292"/>
          </a:xfrm>
          <a:prstGeom prst="ellipse">
            <a:avLst/>
          </a:prstGeom>
          <a:gradFill flip="none" rotWithShape="1">
            <a:gsLst>
              <a:gs pos="0">
                <a:srgbClr val="00AEEF"/>
              </a:gs>
              <a:gs pos="65000">
                <a:srgbClr val="00AEEF">
                  <a:alpha val="3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1FDA2510-B9CB-48AD-B6A5-484F1EF4C9AB}"/>
              </a:ext>
            </a:extLst>
          </p:cNvPr>
          <p:cNvSpPr>
            <a:spLocks noChangeAspect="1"/>
          </p:cNvSpPr>
          <p:nvPr userDrawn="1"/>
        </p:nvSpPr>
        <p:spPr>
          <a:xfrm>
            <a:off x="9899853" y="170458"/>
            <a:ext cx="1913758" cy="1895304"/>
          </a:xfrm>
          <a:prstGeom prst="donut">
            <a:avLst>
              <a:gd name="adj" fmla="val 5617"/>
            </a:avLst>
          </a:prstGeom>
          <a:gradFill flip="none" rotWithShape="1">
            <a:gsLst>
              <a:gs pos="0">
                <a:srgbClr val="00AEEF"/>
              </a:gs>
              <a:gs pos="65000">
                <a:srgbClr val="00AEEF">
                  <a:alpha val="3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B21267DC-010D-438A-9044-BC46C9AA999A}"/>
              </a:ext>
            </a:extLst>
          </p:cNvPr>
          <p:cNvSpPr>
            <a:spLocks noChangeAspect="1"/>
          </p:cNvSpPr>
          <p:nvPr userDrawn="1"/>
        </p:nvSpPr>
        <p:spPr>
          <a:xfrm>
            <a:off x="11528795" y="1909836"/>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09216B03-6D3D-48E1-9C23-736A84702DD0}"/>
              </a:ext>
            </a:extLst>
          </p:cNvPr>
          <p:cNvSpPr>
            <a:spLocks noChangeAspect="1"/>
          </p:cNvSpPr>
          <p:nvPr userDrawn="1"/>
        </p:nvSpPr>
        <p:spPr>
          <a:xfrm>
            <a:off x="11392969" y="2511468"/>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0E3E2DAF-B75F-91AC-D361-C5B4456BAE3A}"/>
              </a:ext>
            </a:extLst>
          </p:cNvPr>
          <p:cNvSpPr>
            <a:spLocks noGrp="1"/>
          </p:cNvSpPr>
          <p:nvPr>
            <p:ph type="body" sz="quarter" idx="11"/>
          </p:nvPr>
        </p:nvSpPr>
        <p:spPr>
          <a:xfrm>
            <a:off x="4054020" y="2127267"/>
            <a:ext cx="7278170" cy="4107666"/>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D97271C-D8CF-8FB4-D8E3-235BCCD7F68F}"/>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34893064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LASHPAGE AS 2">
    <p:bg>
      <p:bgPr>
        <a:solidFill>
          <a:schemeClr val="bg1"/>
        </a:solidFill>
        <a:effectLst/>
      </p:bgPr>
    </p:bg>
    <p:spTree>
      <p:nvGrpSpPr>
        <p:cNvPr id="1" name=""/>
        <p:cNvGrpSpPr/>
        <p:nvPr/>
      </p:nvGrpSpPr>
      <p:grpSpPr>
        <a:xfrm>
          <a:off x="0" y="0"/>
          <a:ext cx="0" cy="0"/>
          <a:chOff x="0" y="0"/>
          <a:chExt cx="0" cy="0"/>
        </a:xfrm>
      </p:grpSpPr>
      <p:pic>
        <p:nvPicPr>
          <p:cNvPr id="1034" name="Picture 10">
            <a:extLst>
              <a:ext uri="{FF2B5EF4-FFF2-40B4-BE49-F238E27FC236}">
                <a16:creationId xmlns:a16="http://schemas.microsoft.com/office/drawing/2014/main" id="{BD4363AE-205A-4819-9F31-7F4B9BB04420}"/>
              </a:ext>
            </a:extLst>
          </p:cNvPr>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l="4560"/>
          <a:stretch/>
        </p:blipFill>
        <p:spPr bwMode="auto">
          <a:xfrm>
            <a:off x="238" y="2606"/>
            <a:ext cx="721037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3" name="Group 12">
            <a:extLst>
              <a:ext uri="{FF2B5EF4-FFF2-40B4-BE49-F238E27FC236}">
                <a16:creationId xmlns:a16="http://schemas.microsoft.com/office/drawing/2014/main" id="{FB80E6E3-50FB-46B8-AD03-DCC07D5F9F1E}"/>
              </a:ext>
            </a:extLst>
          </p:cNvPr>
          <p:cNvGrpSpPr/>
          <p:nvPr userDrawn="1"/>
        </p:nvGrpSpPr>
        <p:grpSpPr>
          <a:xfrm>
            <a:off x="6073832" y="268219"/>
            <a:ext cx="5836821" cy="5088756"/>
            <a:chOff x="5836362" y="68074"/>
            <a:chExt cx="6083274" cy="5355263"/>
          </a:xfrm>
        </p:grpSpPr>
        <p:sp>
          <p:nvSpPr>
            <p:cNvPr id="14" name="Oval 13">
              <a:extLst>
                <a:ext uri="{FF2B5EF4-FFF2-40B4-BE49-F238E27FC236}">
                  <a16:creationId xmlns:a16="http://schemas.microsoft.com/office/drawing/2014/main" id="{39936F59-E4A5-4FB7-BC48-4531FE3120EE}"/>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8CAC6223-6465-4B73-B076-732D2542BB93}"/>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6" name="Circle: Hollow 15">
              <a:extLst>
                <a:ext uri="{FF2B5EF4-FFF2-40B4-BE49-F238E27FC236}">
                  <a16:creationId xmlns:a16="http://schemas.microsoft.com/office/drawing/2014/main" id="{09A64407-DA70-426D-9DE9-893E4C2C55B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Oval 16">
              <a:extLst>
                <a:ext uri="{FF2B5EF4-FFF2-40B4-BE49-F238E27FC236}">
                  <a16:creationId xmlns:a16="http://schemas.microsoft.com/office/drawing/2014/main" id="{B9135213-2D18-4C9E-8A5A-E3648F009848}"/>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Circle: Hollow 17">
              <a:extLst>
                <a:ext uri="{FF2B5EF4-FFF2-40B4-BE49-F238E27FC236}">
                  <a16:creationId xmlns:a16="http://schemas.microsoft.com/office/drawing/2014/main" id="{301C6B40-0608-45DE-9D3E-CCD296A86806}"/>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EE097154-4802-4956-94E4-73576F79F337}"/>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Circle: Hollow 19">
              <a:extLst>
                <a:ext uri="{FF2B5EF4-FFF2-40B4-BE49-F238E27FC236}">
                  <a16:creationId xmlns:a16="http://schemas.microsoft.com/office/drawing/2014/main" id="{E07354F7-D16A-41DB-8123-E6BD66208B85}"/>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30E5860-2384-4691-A332-336D14B77538}"/>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Circle: Hollow 21">
              <a:extLst>
                <a:ext uri="{FF2B5EF4-FFF2-40B4-BE49-F238E27FC236}">
                  <a16:creationId xmlns:a16="http://schemas.microsoft.com/office/drawing/2014/main" id="{78D9816B-4A28-449A-ADA9-D558D0CB407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Circle: Hollow 22">
              <a:extLst>
                <a:ext uri="{FF2B5EF4-FFF2-40B4-BE49-F238E27FC236}">
                  <a16:creationId xmlns:a16="http://schemas.microsoft.com/office/drawing/2014/main" id="{AFD0F331-48F6-436C-9A37-F51AC87A80F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4" name="Oval 23">
              <a:extLst>
                <a:ext uri="{FF2B5EF4-FFF2-40B4-BE49-F238E27FC236}">
                  <a16:creationId xmlns:a16="http://schemas.microsoft.com/office/drawing/2014/main" id="{FE248FA4-8FB4-467B-BB2C-7C67EFD0B1C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AD3EC2D2-43E2-401F-852E-D345530D7C92}"/>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93B85795-F1B1-4510-9132-9D4DFBF2E855}"/>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7" name="Oval 26">
              <a:extLst>
                <a:ext uri="{FF2B5EF4-FFF2-40B4-BE49-F238E27FC236}">
                  <a16:creationId xmlns:a16="http://schemas.microsoft.com/office/drawing/2014/main" id="{D8C9B3BC-CA00-4779-B18A-D72E3C812C12}"/>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Circle: Hollow 27">
              <a:extLst>
                <a:ext uri="{FF2B5EF4-FFF2-40B4-BE49-F238E27FC236}">
                  <a16:creationId xmlns:a16="http://schemas.microsoft.com/office/drawing/2014/main" id="{6BF1DDA1-7E8F-4038-AA49-AEF5F3EB2046}"/>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9" name="Oval 28">
              <a:extLst>
                <a:ext uri="{FF2B5EF4-FFF2-40B4-BE49-F238E27FC236}">
                  <a16:creationId xmlns:a16="http://schemas.microsoft.com/office/drawing/2014/main" id="{CC9C9628-975D-44E1-B4E9-B9C1E06BAD7A}"/>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D7AB84A7-C46E-45A6-A3A2-8C6B3F0763AC}"/>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3FD32A33-F548-4165-B771-B22BA770B3C5}"/>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F49CFC8-0A0A-478C-AE8F-7FE9913520AF}"/>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DA36B006-A498-49BC-8B0A-B04BE0FC8E66}"/>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FEBB3FFC-F938-466A-AB4F-C64A8E768DE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A7A245F7-C427-44A3-8AA8-C01FF2D6E806}"/>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0079C50A-77F3-4841-A27A-56720E450F82}"/>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48D491-0B4D-4801-AE29-672EF1331DB6}"/>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8" name="Oval 37">
              <a:extLst>
                <a:ext uri="{FF2B5EF4-FFF2-40B4-BE49-F238E27FC236}">
                  <a16:creationId xmlns:a16="http://schemas.microsoft.com/office/drawing/2014/main" id="{8310ABB2-8829-4081-954C-060F795C620D}"/>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A1BF5D2-17DB-4295-8864-BD6F8D834B14}"/>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B626B1BD-8353-473E-A336-1B2C3789D045}"/>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63F954E1-B24D-4548-ADC7-5FC3AE573949}"/>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863F5DAF-F9FC-47E9-8231-BC562926E658}"/>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CF12651-1CFD-4D64-A02D-7BDA3B137870}"/>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4" name="Oval 43">
              <a:extLst>
                <a:ext uri="{FF2B5EF4-FFF2-40B4-BE49-F238E27FC236}">
                  <a16:creationId xmlns:a16="http://schemas.microsoft.com/office/drawing/2014/main" id="{B80B87C1-F227-462F-8141-B0F5FA70BD06}"/>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D1A8BD0D-0305-4A56-9205-DC3A60093B9E}"/>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82487647-FE03-4EFA-8362-CB3F65877510}"/>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A7DB594D-AACD-4ED5-8C10-D459DE7E823C}"/>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98063840-D79F-4781-9CBA-3A1EE0A309B6}"/>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29F05C63-EFD7-4553-929F-B4959C647E1A}"/>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D7EC30B2-403C-4C56-8374-3C7B667F8B17}"/>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69CA3825-947B-4D5C-A285-B4B4B4DD3190}"/>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90EC4918-17F4-4239-B224-FB846D2A2EC3}"/>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402975C8-1248-4552-8C21-C14E89D62A4F}"/>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Circle: Hollow 53">
              <a:extLst>
                <a:ext uri="{FF2B5EF4-FFF2-40B4-BE49-F238E27FC236}">
                  <a16:creationId xmlns:a16="http://schemas.microsoft.com/office/drawing/2014/main" id="{9484B860-5E7E-4B39-A421-8407DBF1A864}"/>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5" name="Circle: Hollow 54">
              <a:extLst>
                <a:ext uri="{FF2B5EF4-FFF2-40B4-BE49-F238E27FC236}">
                  <a16:creationId xmlns:a16="http://schemas.microsoft.com/office/drawing/2014/main" id="{97F2434B-BDBA-423B-B5E9-09CAE81FD81E}"/>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00F9BDD3-6959-C843-EEBF-F9CB44ADFB57}"/>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88ECE77C-0C9B-D878-7926-EDBBEBAEC103}"/>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735DE826-6200-FAAD-B4DA-04BE74BAADB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AF70C7C7-10D4-0C4F-ED9F-51E4E2665429}"/>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AE1E5FB2-8FC5-81F6-C112-25DA4F580CEB}"/>
                </a:ext>
              </a:extLst>
            </p:cNvPr>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7696722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PAGE NO IMAGE 6">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3367314"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2769284"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3473073"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2769283"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3570281" y="1146332"/>
            <a:ext cx="8292453"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2769284"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Oval 18">
            <a:extLst>
              <a:ext uri="{FF2B5EF4-FFF2-40B4-BE49-F238E27FC236}">
                <a16:creationId xmlns:a16="http://schemas.microsoft.com/office/drawing/2014/main" id="{BBBA2604-BE15-4B2A-903F-5A925BB80784}"/>
              </a:ext>
            </a:extLst>
          </p:cNvPr>
          <p:cNvSpPr>
            <a:spLocks noChangeAspect="1"/>
          </p:cNvSpPr>
          <p:nvPr userDrawn="1"/>
        </p:nvSpPr>
        <p:spPr>
          <a:xfrm>
            <a:off x="10248656" y="515909"/>
            <a:ext cx="1223086" cy="1211292"/>
          </a:xfrm>
          <a:prstGeom prst="ellipse">
            <a:avLst/>
          </a:prstGeom>
          <a:gradFill flip="none" rotWithShape="1">
            <a:gsLst>
              <a:gs pos="0">
                <a:srgbClr val="FFC000"/>
              </a:gs>
              <a:gs pos="65000">
                <a:srgbClr val="FFC000">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1FDA2510-B9CB-48AD-B6A5-484F1EF4C9AB}"/>
              </a:ext>
            </a:extLst>
          </p:cNvPr>
          <p:cNvSpPr>
            <a:spLocks noChangeAspect="1"/>
          </p:cNvSpPr>
          <p:nvPr userDrawn="1"/>
        </p:nvSpPr>
        <p:spPr>
          <a:xfrm>
            <a:off x="9899853" y="170458"/>
            <a:ext cx="1913758" cy="1895304"/>
          </a:xfrm>
          <a:prstGeom prst="donut">
            <a:avLst>
              <a:gd name="adj" fmla="val 5617"/>
            </a:avLst>
          </a:prstGeom>
          <a:gradFill flip="none" rotWithShape="1">
            <a:gsLst>
              <a:gs pos="0">
                <a:srgbClr val="FFC000"/>
              </a:gs>
              <a:gs pos="65000">
                <a:srgbClr val="FFC000">
                  <a:alpha val="29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B21267DC-010D-438A-9044-BC46C9AA999A}"/>
              </a:ext>
            </a:extLst>
          </p:cNvPr>
          <p:cNvSpPr>
            <a:spLocks noChangeAspect="1"/>
          </p:cNvSpPr>
          <p:nvPr userDrawn="1"/>
        </p:nvSpPr>
        <p:spPr>
          <a:xfrm>
            <a:off x="11528795" y="1909836"/>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09216B03-6D3D-48E1-9C23-736A84702DD0}"/>
              </a:ext>
            </a:extLst>
          </p:cNvPr>
          <p:cNvSpPr>
            <a:spLocks noChangeAspect="1"/>
          </p:cNvSpPr>
          <p:nvPr userDrawn="1"/>
        </p:nvSpPr>
        <p:spPr>
          <a:xfrm>
            <a:off x="11392969" y="2511468"/>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F4E573A9-92F0-47BF-FAD3-C6B8BCFBF43D}"/>
              </a:ext>
            </a:extLst>
          </p:cNvPr>
          <p:cNvSpPr>
            <a:spLocks noGrp="1"/>
          </p:cNvSpPr>
          <p:nvPr>
            <p:ph type="body" sz="quarter" idx="11"/>
          </p:nvPr>
        </p:nvSpPr>
        <p:spPr>
          <a:xfrm>
            <a:off x="4054020" y="2127267"/>
            <a:ext cx="7278170" cy="4107666"/>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6B9E501-4F00-C841-8024-B9429ECFD087}"/>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2157892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PAGE GRAPHIC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6" name="Picture 5" descr="Shape, circle&#10;&#10;Description automatically generated">
            <a:extLst>
              <a:ext uri="{FF2B5EF4-FFF2-40B4-BE49-F238E27FC236}">
                <a16:creationId xmlns:a16="http://schemas.microsoft.com/office/drawing/2014/main" id="{9B4A9C0C-8128-4278-8F17-3A28A9BE9B5A}"/>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 name="Text Placeholder 4">
            <a:extLst>
              <a:ext uri="{FF2B5EF4-FFF2-40B4-BE49-F238E27FC236}">
                <a16:creationId xmlns:a16="http://schemas.microsoft.com/office/drawing/2014/main" id="{135530B2-AADB-260C-FAB6-B18813118DA1}"/>
              </a:ext>
            </a:extLst>
          </p:cNvPr>
          <p:cNvSpPr>
            <a:spLocks noGrp="1"/>
          </p:cNvSpPr>
          <p:nvPr>
            <p:ph type="body" sz="quarter" idx="11"/>
          </p:nvPr>
        </p:nvSpPr>
        <p:spPr>
          <a:xfrm>
            <a:off x="320220" y="1222391"/>
            <a:ext cx="727817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CD6E51D-83E2-0901-4632-48EEDACF1084}"/>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32015815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PAGE GRAPHIC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6" name="Picture 5" descr="Shape, circle&#10;&#10;Description automatically generated">
            <a:extLst>
              <a:ext uri="{FF2B5EF4-FFF2-40B4-BE49-F238E27FC236}">
                <a16:creationId xmlns:a16="http://schemas.microsoft.com/office/drawing/2014/main" id="{234D69AB-77EA-4E18-ABFF-964A352897F8}"/>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2" name="Text Placeholder 4">
            <a:extLst>
              <a:ext uri="{FF2B5EF4-FFF2-40B4-BE49-F238E27FC236}">
                <a16:creationId xmlns:a16="http://schemas.microsoft.com/office/drawing/2014/main" id="{5CFE35A0-167E-F21C-2784-BE2EEEAEE4D9}"/>
              </a:ext>
            </a:extLst>
          </p:cNvPr>
          <p:cNvSpPr>
            <a:spLocks noGrp="1"/>
          </p:cNvSpPr>
          <p:nvPr>
            <p:ph type="body" sz="quarter" idx="11"/>
          </p:nvPr>
        </p:nvSpPr>
        <p:spPr>
          <a:xfrm>
            <a:off x="4819649" y="1205999"/>
            <a:ext cx="7093565"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25A8ADA-BE84-E32A-7E41-F9C0D4F92DB7}"/>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7431634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PAGE GRAPHIC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6" name="Picture 5" descr="Shape, circle&#10;&#10;Description automatically generated">
            <a:extLst>
              <a:ext uri="{FF2B5EF4-FFF2-40B4-BE49-F238E27FC236}">
                <a16:creationId xmlns:a16="http://schemas.microsoft.com/office/drawing/2014/main" id="{4F2927DF-669F-41E1-8C02-02B43DD1EC37}"/>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rot="5400000">
            <a:off x="8091044" y="460008"/>
            <a:ext cx="4583981" cy="3617930"/>
          </a:xfrm>
          <a:prstGeom prst="rect">
            <a:avLst/>
          </a:prstGeom>
          <a:effectLst>
            <a:outerShdw blurRad="50800" dist="38100" dir="8100000" algn="tr" rotWithShape="0">
              <a:prstClr val="black">
                <a:alpha val="40000"/>
              </a:prstClr>
            </a:outerShdw>
          </a:effectLst>
        </p:spPr>
      </p:pic>
      <p:sp>
        <p:nvSpPr>
          <p:cNvPr id="2" name="Text Placeholder 4">
            <a:extLst>
              <a:ext uri="{FF2B5EF4-FFF2-40B4-BE49-F238E27FC236}">
                <a16:creationId xmlns:a16="http://schemas.microsoft.com/office/drawing/2014/main" id="{80BA1CF4-6F67-7108-9841-5C30CDC7C1C4}"/>
              </a:ext>
            </a:extLst>
          </p:cNvPr>
          <p:cNvSpPr>
            <a:spLocks noGrp="1"/>
          </p:cNvSpPr>
          <p:nvPr>
            <p:ph type="body" sz="quarter" idx="11"/>
          </p:nvPr>
        </p:nvSpPr>
        <p:spPr>
          <a:xfrm>
            <a:off x="320220" y="1222391"/>
            <a:ext cx="851898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4D958CD-FBF0-2A2D-96D2-1DBAADD51C2A}"/>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6368656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AG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2" name="Text Placeholder 4">
            <a:extLst>
              <a:ext uri="{FF2B5EF4-FFF2-40B4-BE49-F238E27FC236}">
                <a16:creationId xmlns:a16="http://schemas.microsoft.com/office/drawing/2014/main" id="{1CD8F452-A9A4-90BF-A9D1-44E01C2BF4B1}"/>
              </a:ext>
            </a:extLst>
          </p:cNvPr>
          <p:cNvSpPr>
            <a:spLocks noGrp="1"/>
          </p:cNvSpPr>
          <p:nvPr>
            <p:ph type="body" sz="quarter" idx="11"/>
          </p:nvPr>
        </p:nvSpPr>
        <p:spPr>
          <a:xfrm>
            <a:off x="320220" y="1222391"/>
            <a:ext cx="1143363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9B2084B-9BFC-FCB2-B5A2-6E97DD76A295}"/>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29439449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AGE 2">
    <p:spTree>
      <p:nvGrpSpPr>
        <p:cNvPr id="1" name=""/>
        <p:cNvGrpSpPr/>
        <p:nvPr/>
      </p:nvGrpSpPr>
      <p:grpSpPr>
        <a:xfrm>
          <a:off x="0" y="0"/>
          <a:ext cx="0" cy="0"/>
          <a:chOff x="0" y="0"/>
          <a:chExt cx="0" cy="0"/>
        </a:xfrm>
      </p:grpSpPr>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2" name="Text Placeholder 4">
            <a:extLst>
              <a:ext uri="{FF2B5EF4-FFF2-40B4-BE49-F238E27FC236}">
                <a16:creationId xmlns:a16="http://schemas.microsoft.com/office/drawing/2014/main" id="{9C22D1EB-BC1E-94BA-C864-34654309C6EE}"/>
              </a:ext>
            </a:extLst>
          </p:cNvPr>
          <p:cNvSpPr>
            <a:spLocks noGrp="1"/>
          </p:cNvSpPr>
          <p:nvPr>
            <p:ph type="body" sz="quarter" idx="11"/>
          </p:nvPr>
        </p:nvSpPr>
        <p:spPr>
          <a:xfrm>
            <a:off x="320220" y="1222391"/>
            <a:ext cx="11433630" cy="5149833"/>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90E1975-0619-7C19-6DE1-1B86BF3D3245}"/>
              </a:ext>
            </a:extLst>
          </p:cNvPr>
          <p:cNvSpPr>
            <a:spLocks noGrp="1"/>
          </p:cNvSpPr>
          <p:nvPr>
            <p:ph type="sldNum" sz="quarter" idx="12"/>
          </p:nvPr>
        </p:nvSpPr>
        <p:spPr/>
        <p:txBody>
          <a:bodyPr/>
          <a:lstStyle/>
          <a:p>
            <a:fld id="{E112F761-781A-4F50-9DEE-CC804A409563}" type="slidenum">
              <a:rPr lang="nl-NL" smtClean="0"/>
              <a:pPr/>
              <a:t>‹#›</a:t>
            </a:fld>
            <a:endParaRPr lang="nl-NL"/>
          </a:p>
        </p:txBody>
      </p:sp>
    </p:spTree>
    <p:extLst>
      <p:ext uri="{BB962C8B-B14F-4D97-AF65-F5344CB8AC3E}">
        <p14:creationId xmlns:p14="http://schemas.microsoft.com/office/powerpoint/2010/main" val="4703247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PAGE IMAGE RIGHT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074" name="Picture 2">
            <a:extLst>
              <a:ext uri="{FF2B5EF4-FFF2-40B4-BE49-F238E27FC236}">
                <a16:creationId xmlns:a16="http://schemas.microsoft.com/office/drawing/2014/main" id="{F7F2160B-645D-4E1B-B845-460D16D0474A}"/>
              </a:ext>
            </a:extLst>
          </p:cNvPr>
          <p:cNvPicPr preferRelativeResize="0">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rot="1044149">
            <a:off x="8774753" y="3117530"/>
            <a:ext cx="3050745" cy="3050745"/>
          </a:xfrm>
          <a:prstGeom prst="rect">
            <a:avLst/>
          </a:prstGeom>
          <a:noFill/>
          <a:extLst>
            <a:ext uri="{909E8E84-426E-40DD-AFC4-6F175D3DCCD1}">
              <a14:hiddenFill xmlns:a14="http://schemas.microsoft.com/office/drawing/2010/main">
                <a:solidFill>
                  <a:srgbClr val="FFFFFF"/>
                </a:solidFill>
              </a14:hiddenFill>
            </a:ext>
          </a:extLst>
        </p:spPr>
      </p:pic>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B12FB3F9-D1D0-1A34-CE12-B11A86ACDB0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Tree>
    <p:extLst>
      <p:ext uri="{BB962C8B-B14F-4D97-AF65-F5344CB8AC3E}">
        <p14:creationId xmlns:p14="http://schemas.microsoft.com/office/powerpoint/2010/main" val="6800641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PAGE IMAGE RIGHT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5" name="Picture Placeholder 18">
            <a:extLst>
              <a:ext uri="{FF2B5EF4-FFF2-40B4-BE49-F238E27FC236}">
                <a16:creationId xmlns:a16="http://schemas.microsoft.com/office/drawing/2014/main" id="{1B8F02F8-EEDB-4CCC-9C11-A6782DFAEA8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6918" y="3071376"/>
            <a:ext cx="3128359" cy="3128359"/>
          </a:xfrm>
          <a:prstGeom prst="ellipse">
            <a:avLst/>
          </a:prstGeom>
          <a:ln>
            <a:noFill/>
          </a:ln>
        </p:spPr>
      </p:pic>
      <p:sp>
        <p:nvSpPr>
          <p:cNvPr id="2" name="Text Placeholder 4">
            <a:extLst>
              <a:ext uri="{FF2B5EF4-FFF2-40B4-BE49-F238E27FC236}">
                <a16:creationId xmlns:a16="http://schemas.microsoft.com/office/drawing/2014/main" id="{6B98B1F1-4889-85B1-FB39-59E2DA3DF0AE}"/>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B573225-A23A-AD7A-B158-305E1AFF75F5}"/>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7864567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PAGE IMAGE RIGHT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33">
            <a:extLst>
              <a:ext uri="{FF2B5EF4-FFF2-40B4-BE49-F238E27FC236}">
                <a16:creationId xmlns:a16="http://schemas.microsoft.com/office/drawing/2014/main" id="{67022DBB-02B9-4128-AFCD-1D44975BC07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7846" y="3075746"/>
            <a:ext cx="3128359" cy="3128359"/>
          </a:xfrm>
          <a:prstGeom prst="ellipse">
            <a:avLst/>
          </a:prstGeom>
          <a:ln>
            <a:noFill/>
          </a:ln>
        </p:spPr>
      </p:pic>
      <p:sp>
        <p:nvSpPr>
          <p:cNvPr id="2" name="Text Placeholder 4">
            <a:extLst>
              <a:ext uri="{FF2B5EF4-FFF2-40B4-BE49-F238E27FC236}">
                <a16:creationId xmlns:a16="http://schemas.microsoft.com/office/drawing/2014/main" id="{DE65A6A3-F7CD-BB0C-365E-6F71F25E262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31179B7-3FFA-82BE-B41A-44E508BDC966}"/>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2046986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PAGE IMAGE RIGHT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7" name="Picture Placeholder 38">
            <a:extLst>
              <a:ext uri="{FF2B5EF4-FFF2-40B4-BE49-F238E27FC236}">
                <a16:creationId xmlns:a16="http://schemas.microsoft.com/office/drawing/2014/main" id="{5DFCF5F3-7711-4726-AA2B-5F73058D7D1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6918" y="3063046"/>
            <a:ext cx="3128359" cy="3128359"/>
          </a:xfrm>
          <a:prstGeom prst="ellipse">
            <a:avLst/>
          </a:prstGeom>
          <a:ln>
            <a:noFill/>
          </a:ln>
        </p:spPr>
      </p:pic>
      <p:sp>
        <p:nvSpPr>
          <p:cNvPr id="2" name="Text Placeholder 4">
            <a:extLst>
              <a:ext uri="{FF2B5EF4-FFF2-40B4-BE49-F238E27FC236}">
                <a16:creationId xmlns:a16="http://schemas.microsoft.com/office/drawing/2014/main" id="{E9B4775C-A0B8-C29B-11E8-E71571C2994A}"/>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57E79F0-C96C-F03C-3900-2DEC44AB1725}"/>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6623264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LASHPAGE AS 3">
    <p:bg>
      <p:bgPr>
        <a:solidFill>
          <a:schemeClr val="bg1"/>
        </a:solidFill>
        <a:effectLst/>
      </p:bgPr>
    </p:bg>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F0762832-CA68-4593-A467-AC9D115B3637}"/>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0" y="0"/>
            <a:ext cx="879475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8264F0AE-C14B-49B4-B2DA-9F7D1027D5B0}"/>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3589" b="99761" l="0" r="43004">
                        <a14:foregroundMark x1="10914" y1="33971" x2="93" y2="58373"/>
                        <a14:foregroundMark x1="8209" y1="4306" x2="11567" y2="22249"/>
                        <a14:foregroundMark x1="11567" y1="22249" x2="11567" y2="22249"/>
                        <a14:foregroundMark x1="9515" y1="30144" x2="840" y2="49163"/>
                        <a14:foregroundMark x1="840" y1="49163" x2="653" y2="49282"/>
                        <a14:foregroundMark x1="6716" y1="81100" x2="38340" y2="96172"/>
                        <a14:foregroundMark x1="38340" y1="96172" x2="43190" y2="96890"/>
                        <a14:foregroundMark x1="3731" y1="81220" x2="35261" y2="87679"/>
                        <a14:foregroundMark x1="35261" y1="87679" x2="40299" y2="90311"/>
                        <a14:foregroundMark x1="41698" y1="95335" x2="43097" y2="98804"/>
                        <a14:foregroundMark x1="466" y1="94498" x2="33955" y2="96890"/>
                        <a14:foregroundMark x1="6996" y1="83612" x2="24813" y2="96890"/>
                        <a14:foregroundMark x1="29757" y1="98565" x2="37780" y2="99880"/>
                        <a14:foregroundMark x1="8116" y1="30981" x2="2332" y2="36842"/>
                        <a14:foregroundMark x1="15858" y1="41388" x2="19869" y2="49761"/>
                        <a14:foregroundMark x1="7090" y1="29067" x2="2519" y2="36483"/>
                        <a14:foregroundMark x1="2519" y1="36483" x2="2425" y2="36483"/>
                        <a14:foregroundMark x1="7183" y1="4904" x2="7463" y2="12321"/>
                        <a14:foregroundMark x1="9888" y1="3589" x2="10261" y2="7656"/>
                        <a14:foregroundMark x1="21549" y1="56699" x2="21642" y2="58254"/>
                        <a14:foregroundMark x1="27791" y1="80190" x2="28731" y2="80263"/>
                        <a14:foregroundMark x1="25653" y1="80024" x2="26429" y2="80084"/>
                        <a14:foregroundMark x1="26213" y1="79187" x2="26679" y2="79187"/>
                        <a14:foregroundMark x1="41643" y1="89136" x2="42631" y2="93660"/>
                        <a14:foregroundMark x1="33165" y1="84485" x2="34795" y2="85646"/>
                        <a14:foregroundMark x1="34235" y1="84211" x2="34235" y2="84211"/>
                        <a14:foregroundMark x1="34422" y1="84330" x2="34422" y2="84330"/>
                        <a14:foregroundMark x1="34608" y1="84330" x2="34608" y2="84330"/>
                        <a14:foregroundMark x1="33606" y1="84042" x2="34235" y2="84330"/>
                        <a14:backgroundMark x1="24347" y1="61005" x2="34142" y2="77512"/>
                        <a14:backgroundMark x1="34142" y1="77512" x2="35634" y2="77033"/>
                        <a14:backgroundMark x1="24907" y1="73923" x2="32649" y2="78110"/>
                        <a14:backgroundMark x1="32649" y1="78110" x2="33022" y2="78589"/>
                        <a14:backgroundMark x1="27266" y1="78004" x2="28731" y2="78230"/>
                        <a14:backgroundMark x1="26399" y1="77871" x2="26833" y2="77938"/>
                        <a14:backgroundMark x1="36332" y1="83997" x2="36660" y2="83971"/>
                        <a14:backgroundMark x1="6437" y1="24402" x2="373" y2="30861"/>
                        <a14:backgroundMark x1="373" y1="30861" x2="2146" y2="31579"/>
                        <a14:backgroundMark x1="560" y1="35048" x2="560" y2="36244"/>
                        <a14:backgroundMark x1="1119" y1="36244" x2="746" y2="37201"/>
                        <a14:backgroundMark x1="36474" y1="77632" x2="39086" y2="83373"/>
                        <a14:backgroundMark x1="41604" y1="86005" x2="42227" y2="87364"/>
                        <a14:backgroundMark x1="42257" y1="87321" x2="42537" y2="88876"/>
                        <a14:backgroundMark x1="33396" y1="81818" x2="40299" y2="82177"/>
                        <a14:backgroundMark x1="35443" y1="83852" x2="37407" y2="83852"/>
                        <a14:backgroundMark x1="33209" y1="81699" x2="33209" y2="81699"/>
                        <a14:backgroundMark x1="32929" y1="81699" x2="32929" y2="81699"/>
                        <a14:backgroundMark x1="32649" y1="81699" x2="32649" y2="81699"/>
                        <a14:backgroundMark x1="34422" y1="83732" x2="34422" y2="83732"/>
                        <a14:backgroundMark x1="31250" y1="80383" x2="32369" y2="82177"/>
                        <a14:backgroundMark x1="31903" y1="81699" x2="33675" y2="83971"/>
                        <a14:backgroundMark x1="27612" y1="78349" x2="28638" y2="78947"/>
                      </a14:backgroundRemoval>
                    </a14:imgEffect>
                  </a14:imgLayer>
                </a14:imgProps>
              </a:ext>
              <a:ext uri="{28A0092B-C50C-407E-A947-70E740481C1C}">
                <a14:useLocalDpi xmlns:a14="http://schemas.microsoft.com/office/drawing/2010/main" val="0"/>
              </a:ext>
            </a:extLst>
          </a:blip>
          <a:srcRect t="2565" r="55360"/>
          <a:stretch/>
        </p:blipFill>
        <p:spPr bwMode="auto">
          <a:xfrm>
            <a:off x="-27525" y="175886"/>
            <a:ext cx="4020928" cy="6707992"/>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A69F55C0-EC6D-44B3-BB82-E96A09B3420D}"/>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7FCA5E31-9580-496F-9E42-1E6F2E07DAC1}"/>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D9C47CBD-8D33-405D-BC70-B694229714DB}"/>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862EA350-F82E-4D4C-BA13-0794D9500EF0}"/>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0580316D-5DF0-40B5-A3A6-88A87098D0F4}"/>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64DE458-7348-424D-BA0B-DB2033B3D8DE}"/>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996E8319-087F-4D1A-AC1D-37C5993747B9}"/>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40D1CC14-1DFE-4C16-809F-B47B5942D5F2}"/>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95C80524-C697-4410-9D7A-6F117A5F4279}"/>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E5DDAF0C-3AFC-46BF-9F33-8199FA60A7F0}"/>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90E3AB26-4D87-42FF-97FB-5EE9DF934930}"/>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16E59A0E-54D9-484E-BDE9-532798001B17}"/>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902106AF-E792-4E14-9E72-A5BF55858034}"/>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7F48818E-1D3B-4F50-8868-77EFFF642D4C}"/>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B06DF11D-511A-44B8-9EA4-538E51C5CF3C}"/>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A8BCBF9B-A739-486F-AE59-ABE12AE02BBB}"/>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D8E0AB5A-674C-4DE7-93C2-D6BEC62566BE}"/>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2611CDE5-2616-4304-9622-97E6956492D8}"/>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C2AEE9CC-82AC-42ED-A5E3-1C1FBB598E30}"/>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A5B07C61-CA3C-4B06-BB3B-252F04600D15}"/>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31CC1F13-2300-4736-BD4E-CD50123F3405}"/>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BE2B2A1C-13C0-4A0F-AA7F-40CBF328EF65}"/>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E0E9E105-E9DF-4541-B2CA-211978A177D5}"/>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9882D4D8-D8CC-400A-A7EB-C0D59FEE4D8F}"/>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7166D34E-8AE8-4558-B308-0690644A3D26}"/>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020417FC-C19B-4FF8-AB1B-5739B92BE92D}"/>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297E7573-727A-400A-9837-0622D2709002}"/>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F186FDA2-140B-4619-8E3A-ADE0E4ACC353}"/>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916BE292-FFE3-4054-B1F8-459151E35DF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AA0C3C8A-737F-48D0-A8E6-F3C2DA9F5C4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2F83213A-1DCA-4D45-B441-286FDD94D276}"/>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114399FE-68D5-4F78-94C0-CA2108EBA199}"/>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66196BB2-B1EB-4BD8-ACAA-839CF157F03B}"/>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0646F30E-3B43-46A7-AC2D-95D5C2C58059}"/>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ACA778B9-DC94-4CD3-9E19-72EC312FE49E}"/>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01896B74-8927-4082-B2BA-829CC59DEBD0}"/>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85DB2747-744C-4272-8285-BCDCA1D76FB4}"/>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AEDBC75-BAF7-4810-92F3-73941FCA715F}"/>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47C0EB01-0544-4C72-9B46-42B7697626A0}"/>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5DF00221-B9A0-4B7D-A3CA-FA773C05FD59}"/>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B1828083-BA49-4A75-AE2E-36F0CAD7EBC6}"/>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7C3BBF84-0C85-4B2F-B83D-0B97A4E4B96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EACF7882-0404-49EE-B918-3B315360A180}"/>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6B07F70F-93D5-525B-0192-C266AC8F0B55}"/>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41F564AD-24A4-5E0D-7066-B343AEC62FC5}"/>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1CC2DBC4-3915-C1D6-728D-1D1EAF21607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56C73E10-8B07-A8C6-4E6A-7B2A915BCCF4}"/>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C3FD4AF7-D7FD-3021-3230-41A468BF09EC}"/>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7287433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PAGE IMAGE RIGHT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9" name="Picture Placeholder 52" descr="Two women sitting on a ledge&#10;&#10;Description automatically generated with low confidence">
            <a:extLst>
              <a:ext uri="{FF2B5EF4-FFF2-40B4-BE49-F238E27FC236}">
                <a16:creationId xmlns:a16="http://schemas.microsoft.com/office/drawing/2014/main" id="{181CDFF3-3268-4B33-AEE6-4AC936C4DDE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44856" y="3074551"/>
            <a:ext cx="3128359" cy="3139647"/>
          </a:xfrm>
          <a:prstGeom prst="ellipse">
            <a:avLst/>
          </a:prstGeom>
          <a:ln>
            <a:noFill/>
          </a:ln>
        </p:spPr>
      </p:pic>
      <p:sp>
        <p:nvSpPr>
          <p:cNvPr id="2" name="Text Placeholder 4">
            <a:extLst>
              <a:ext uri="{FF2B5EF4-FFF2-40B4-BE49-F238E27FC236}">
                <a16:creationId xmlns:a16="http://schemas.microsoft.com/office/drawing/2014/main" id="{8262C41A-9794-3772-FB7E-F4665A87AC30}"/>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97DC2EB-E0D7-FDDF-AE49-FAF76C3BCDC3}"/>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5961373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PAGE IMAGE RIGHT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Placeholder 43" descr="A picture containing person, standing&#10;&#10;Description automatically generated">
            <a:extLst>
              <a:ext uri="{FF2B5EF4-FFF2-40B4-BE49-F238E27FC236}">
                <a16:creationId xmlns:a16="http://schemas.microsoft.com/office/drawing/2014/main" id="{BA62350B-7699-46E2-AB6F-FE0A3F40300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1878" y="3075096"/>
            <a:ext cx="3128359" cy="3128359"/>
          </a:xfrm>
          <a:prstGeom prst="ellipse">
            <a:avLst/>
          </a:prstGeom>
          <a:ln>
            <a:noFill/>
          </a:ln>
        </p:spPr>
      </p:pic>
      <p:sp>
        <p:nvSpPr>
          <p:cNvPr id="2" name="Text Placeholder 4">
            <a:extLst>
              <a:ext uri="{FF2B5EF4-FFF2-40B4-BE49-F238E27FC236}">
                <a16:creationId xmlns:a16="http://schemas.microsoft.com/office/drawing/2014/main" id="{A8B2DBD2-AF8B-3926-43A0-6292CBA21CF7}"/>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A7A9EBF-D3D9-FF45-DA85-146709FAE1E7}"/>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6445149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PAGE IMAGE RIGHT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0" name="Picture Placeholder 38" descr="A group of people posing for the camera&#10;&#10;Description automatically generated">
            <a:extLst>
              <a:ext uri="{FF2B5EF4-FFF2-40B4-BE49-F238E27FC236}">
                <a16:creationId xmlns:a16="http://schemas.microsoft.com/office/drawing/2014/main" id="{C6E6FF14-ED78-422E-B481-6A622439FB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0319" y="3074560"/>
            <a:ext cx="3155207" cy="3137505"/>
          </a:xfrm>
          <a:prstGeom prst="ellipse">
            <a:avLst/>
          </a:prstGeom>
          <a:ln>
            <a:noFill/>
          </a:ln>
        </p:spPr>
      </p:pic>
      <p:sp>
        <p:nvSpPr>
          <p:cNvPr id="2" name="Text Placeholder 4">
            <a:extLst>
              <a:ext uri="{FF2B5EF4-FFF2-40B4-BE49-F238E27FC236}">
                <a16:creationId xmlns:a16="http://schemas.microsoft.com/office/drawing/2014/main" id="{6713541E-7ACB-022D-159B-FE912B2C7492}"/>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AC26BB3-6C32-C2A9-098C-1813077892BE}"/>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2474056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PAGE IMAGE RIGHT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5" name="Picture Placeholder 32" descr="A picture containing person, outdoor&#10;&#10;Description automatically generated">
            <a:extLst>
              <a:ext uri="{FF2B5EF4-FFF2-40B4-BE49-F238E27FC236}">
                <a16:creationId xmlns:a16="http://schemas.microsoft.com/office/drawing/2014/main" id="{835F987A-9F04-4897-8887-BD9A3383588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58449" y="3077213"/>
            <a:ext cx="3105809" cy="3126242"/>
          </a:xfrm>
          <a:prstGeom prst="ellipse">
            <a:avLst/>
          </a:prstGeom>
          <a:ln>
            <a:noFill/>
          </a:ln>
        </p:spPr>
      </p:pic>
      <p:sp>
        <p:nvSpPr>
          <p:cNvPr id="2" name="Text Placeholder 4">
            <a:extLst>
              <a:ext uri="{FF2B5EF4-FFF2-40B4-BE49-F238E27FC236}">
                <a16:creationId xmlns:a16="http://schemas.microsoft.com/office/drawing/2014/main" id="{38D523EA-6777-9070-C400-49F313A5B244}"/>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8A70C68-9162-9722-84D8-7D0D8DC13F96}"/>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3377986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PAGE IMAGE RIGHT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Placeholder 59" descr="A picture containing person, outdoor&#10;&#10;Description automatically generated">
            <a:extLst>
              <a:ext uri="{FF2B5EF4-FFF2-40B4-BE49-F238E27FC236}">
                <a16:creationId xmlns:a16="http://schemas.microsoft.com/office/drawing/2014/main" id="{E525F203-3657-4C12-9D51-52D87FF8034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59794" y="3087698"/>
            <a:ext cx="3128359" cy="3128359"/>
          </a:xfrm>
          <a:prstGeom prst="ellipse">
            <a:avLst/>
          </a:prstGeom>
          <a:ln>
            <a:noFill/>
          </a:ln>
        </p:spPr>
      </p:pic>
      <p:sp>
        <p:nvSpPr>
          <p:cNvPr id="2" name="Text Placeholder 4">
            <a:extLst>
              <a:ext uri="{FF2B5EF4-FFF2-40B4-BE49-F238E27FC236}">
                <a16:creationId xmlns:a16="http://schemas.microsoft.com/office/drawing/2014/main" id="{975AB962-F00B-895F-1C8C-B88F35E38558}"/>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E2253A6-A64E-4163-4778-73FCE398AAE9}"/>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7320302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PAGE IMAGE RIGHT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6" name="Picture Placeholder 64" descr="A group of people posing for the camera&#10;&#10;Description automatically generated">
            <a:extLst>
              <a:ext uri="{FF2B5EF4-FFF2-40B4-BE49-F238E27FC236}">
                <a16:creationId xmlns:a16="http://schemas.microsoft.com/office/drawing/2014/main" id="{7599E71C-A1DF-4DCA-92C8-644EF5AED2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45569" y="3068198"/>
            <a:ext cx="3128359" cy="3128359"/>
          </a:xfrm>
          <a:prstGeom prst="ellipse">
            <a:avLst/>
          </a:prstGeom>
          <a:ln>
            <a:noFill/>
          </a:ln>
        </p:spPr>
      </p:pic>
      <p:sp>
        <p:nvSpPr>
          <p:cNvPr id="2" name="Text Placeholder 4">
            <a:extLst>
              <a:ext uri="{FF2B5EF4-FFF2-40B4-BE49-F238E27FC236}">
                <a16:creationId xmlns:a16="http://schemas.microsoft.com/office/drawing/2014/main" id="{80CE9229-F1E0-28A2-16AD-55486750A3D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23BCAA9-508B-EA39-1ABB-8E45DD37448F}"/>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4856327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PAGE IMAGE RIGHT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0" name="Picture Placeholder 54" descr="A person holding a ball&#10;&#10;Description automatically generated with medium confidence">
            <a:extLst>
              <a:ext uri="{FF2B5EF4-FFF2-40B4-BE49-F238E27FC236}">
                <a16:creationId xmlns:a16="http://schemas.microsoft.com/office/drawing/2014/main" id="{2A1BE4E1-E7A7-41CC-BB61-12289933AD3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18629" y="3105203"/>
            <a:ext cx="3128359" cy="3128359"/>
          </a:xfrm>
          <a:prstGeom prst="ellipse">
            <a:avLst/>
          </a:prstGeom>
          <a:ln>
            <a:noFill/>
          </a:ln>
        </p:spPr>
      </p:pic>
      <p:sp>
        <p:nvSpPr>
          <p:cNvPr id="2" name="Text Placeholder 4">
            <a:extLst>
              <a:ext uri="{FF2B5EF4-FFF2-40B4-BE49-F238E27FC236}">
                <a16:creationId xmlns:a16="http://schemas.microsoft.com/office/drawing/2014/main" id="{19BE6254-4B61-1DF4-E7AB-3F7C43ECCB5D}"/>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302E134-1D79-F774-B033-E2BCA81898F4}"/>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211686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PAGE IMAGE RIGHT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50" descr="A group of women sitting together&#10;&#10;Description automatically generated with low confidence">
            <a:extLst>
              <a:ext uri="{FF2B5EF4-FFF2-40B4-BE49-F238E27FC236}">
                <a16:creationId xmlns:a16="http://schemas.microsoft.com/office/drawing/2014/main" id="{C8AE1489-5A68-4025-8F43-98D28E9AC7F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8427" y="3074129"/>
            <a:ext cx="3128359" cy="3128359"/>
          </a:xfrm>
          <a:prstGeom prst="ellipse">
            <a:avLst/>
          </a:prstGeom>
          <a:ln>
            <a:noFill/>
          </a:ln>
        </p:spPr>
      </p:pic>
      <p:sp>
        <p:nvSpPr>
          <p:cNvPr id="2" name="Text Placeholder 4">
            <a:extLst>
              <a:ext uri="{FF2B5EF4-FFF2-40B4-BE49-F238E27FC236}">
                <a16:creationId xmlns:a16="http://schemas.microsoft.com/office/drawing/2014/main" id="{59CD2144-5116-9F0A-AAA2-AB039B19D2AE}"/>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26F75E6-864C-957E-FAC3-26F0AB32F66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8484352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PAGE IMAGE RIGHT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225">
            <a:extLst>
              <a:ext uri="{FF2B5EF4-FFF2-40B4-BE49-F238E27FC236}">
                <a16:creationId xmlns:a16="http://schemas.microsoft.com/office/drawing/2014/main" id="{10BC53BA-5DCA-4E4D-A6B7-9F020B472F9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34218" y="3075746"/>
            <a:ext cx="3128359" cy="3128359"/>
          </a:xfrm>
          <a:prstGeom prst="ellipse">
            <a:avLst/>
          </a:prstGeom>
          <a:ln>
            <a:noFill/>
          </a:ln>
        </p:spPr>
      </p:pic>
      <p:sp>
        <p:nvSpPr>
          <p:cNvPr id="2" name="Text Placeholder 4">
            <a:extLst>
              <a:ext uri="{FF2B5EF4-FFF2-40B4-BE49-F238E27FC236}">
                <a16:creationId xmlns:a16="http://schemas.microsoft.com/office/drawing/2014/main" id="{3B52B6B6-4D22-C648-26D4-35A6E1967089}"/>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31D8219-12C7-7081-065D-BAB28C5AD722}"/>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1713738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PAGE IMAGE RIGHT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6" name="Picture Placeholder 230">
            <a:extLst>
              <a:ext uri="{FF2B5EF4-FFF2-40B4-BE49-F238E27FC236}">
                <a16:creationId xmlns:a16="http://schemas.microsoft.com/office/drawing/2014/main" id="{EFEBBFFA-F6D0-4A08-878C-687BE3AFF5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2156" y="3087220"/>
            <a:ext cx="3128359" cy="3128359"/>
          </a:xfrm>
          <a:prstGeom prst="ellipse">
            <a:avLst/>
          </a:prstGeom>
          <a:ln>
            <a:noFill/>
          </a:ln>
        </p:spPr>
      </p:pic>
      <p:sp>
        <p:nvSpPr>
          <p:cNvPr id="2" name="Text Placeholder 4">
            <a:extLst>
              <a:ext uri="{FF2B5EF4-FFF2-40B4-BE49-F238E27FC236}">
                <a16:creationId xmlns:a16="http://schemas.microsoft.com/office/drawing/2014/main" id="{8F1C73E6-6A7C-964A-7416-3494B8624151}"/>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DFF05BE-8411-38D9-53BA-23B08AD1B931}"/>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705876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ASHPAGE AS 4">
    <p:bg>
      <p:bgPr>
        <a:solidFill>
          <a:schemeClr val="bg1"/>
        </a:solidFill>
        <a:effectLst/>
      </p:bgPr>
    </p:bg>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69C893BA-F6EE-4E83-BE58-9A0E22A9CF36}"/>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81" y="0"/>
            <a:ext cx="8075613"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2D51AD77-9F8E-4FE5-B3D1-C3092AB60B8F}"/>
              </a:ext>
            </a:extLst>
          </p:cNvPr>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ackgroundRemoval t="13531" b="98732" l="180" r="51706">
                        <a14:foregroundMark x1="21364" y1="13531" x2="15889" y2="37209"/>
                        <a14:foregroundMark x1="26391" y1="16490" x2="36266" y2="42495"/>
                        <a14:foregroundMark x1="36266" y1="42495" x2="36355" y2="43658"/>
                        <a14:foregroundMark x1="359" y1="29598" x2="15081" y2="30233"/>
                        <a14:foregroundMark x1="10682" y1="26321" x2="9246" y2="30550"/>
                        <a14:foregroundMark x1="21095" y1="29810" x2="24417" y2="36469"/>
                        <a14:foregroundMark x1="808" y1="65751" x2="3501" y2="98837"/>
                        <a14:foregroundMark x1="1077" y1="96617" x2="1077" y2="96617"/>
                        <a14:foregroundMark x1="19300" y1="91438" x2="41023" y2="93763"/>
                        <a14:foregroundMark x1="41023" y1="93763" x2="45781" y2="97252"/>
                        <a14:foregroundMark x1="27828" y1="97252" x2="38959" y2="97357"/>
                        <a14:foregroundMark x1="19659" y1="92600" x2="45601" y2="73467"/>
                        <a14:foregroundMark x1="45601" y1="73467" x2="50718" y2="66808"/>
                        <a14:foregroundMark x1="50718" y1="66808" x2="50987" y2="65751"/>
                        <a14:foregroundMark x1="48115" y1="73362" x2="44844" y2="82321"/>
                        <a14:foregroundMark x1="49372" y1="72622" x2="48333" y2="77592"/>
                        <a14:foregroundMark x1="49192" y1="75370" x2="49124" y2="76188"/>
                        <a14:foregroundMark x1="6732" y1="24630" x2="5386" y2="29493"/>
                        <a14:foregroundMark x1="359" y1="28330" x2="7361" y2="28858"/>
                        <a14:foregroundMark x1="31598" y1="76321" x2="36445" y2="71987"/>
                        <a14:foregroundMark x1="36445" y1="71987" x2="36445" y2="71987"/>
                        <a14:foregroundMark x1="51706" y1="65328" x2="51706" y2="65328"/>
                        <a14:foregroundMark x1="2693" y1="57082" x2="808" y2="66702"/>
                        <a14:foregroundMark x1="628" y1="57822" x2="1257" y2="64482"/>
                        <a14:foregroundMark x1="36715" y1="71036" x2="36715" y2="72727"/>
                        <a14:foregroundMark x1="29623" y1="44715" x2="29533" y2="46300"/>
                        <a14:foregroundMark x1="47038" y1="79070" x2="46409" y2="84567"/>
                        <a14:foregroundMark x1="45871" y1="84249" x2="40305" y2="86892"/>
                        <a14:foregroundMark x1="41293" y1="86469" x2="39677" y2="89218"/>
                        <a14:foregroundMark x1="48115" y1="79281" x2="48115" y2="79493"/>
                        <a14:foregroundMark x1="47127" y1="79493" x2="48115" y2="82030"/>
                        <a14:backgroundMark x1="16338" y1="69027" x2="45961" y2="57400"/>
                        <a14:backgroundMark x1="42255" y1="87987" x2="44704" y2="87421"/>
                        <a14:backgroundMark x1="16068" y1="66702" x2="34111" y2="60359"/>
                        <a14:backgroundMark x1="20916" y1="62579" x2="31329" y2="55074"/>
                        <a14:backgroundMark x1="31329" y1="55074" x2="36804" y2="46300"/>
                        <a14:backgroundMark x1="14632" y1="60571" x2="17594" y2="64482"/>
                        <a14:backgroundMark x1="18851" y1="73679" x2="23160" y2="78753"/>
                        <a14:backgroundMark x1="48474" y1="77907" x2="48474" y2="77907"/>
                        <a14:backgroundMark x1="48025" y1="77907" x2="49551" y2="78436"/>
                        <a14:backgroundMark x1="47756" y1="78013" x2="49192" y2="77484"/>
                        <a14:backgroundMark x1="48384" y1="77590" x2="48419" y2="78839"/>
                      </a14:backgroundRemoval>
                    </a14:imgEffect>
                  </a14:imgLayer>
                </a14:imgProps>
              </a:ext>
              <a:ext uri="{28A0092B-C50C-407E-A947-70E740481C1C}">
                <a14:useLocalDpi xmlns:a14="http://schemas.microsoft.com/office/drawing/2010/main" val="0"/>
              </a:ext>
            </a:extLst>
          </a:blip>
          <a:srcRect t="11969" r="45115"/>
          <a:stretch/>
        </p:blipFill>
        <p:spPr bwMode="auto">
          <a:xfrm>
            <a:off x="-9526" y="820852"/>
            <a:ext cx="4429125" cy="6046674"/>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5" name="Group 14">
            <a:extLst>
              <a:ext uri="{FF2B5EF4-FFF2-40B4-BE49-F238E27FC236}">
                <a16:creationId xmlns:a16="http://schemas.microsoft.com/office/drawing/2014/main" id="{580A3703-6F20-45D6-9C88-75098BA5575C}"/>
              </a:ext>
            </a:extLst>
          </p:cNvPr>
          <p:cNvGrpSpPr/>
          <p:nvPr userDrawn="1"/>
        </p:nvGrpSpPr>
        <p:grpSpPr>
          <a:xfrm>
            <a:off x="6073832" y="268219"/>
            <a:ext cx="5836821" cy="5088756"/>
            <a:chOff x="5836362" y="68074"/>
            <a:chExt cx="6083274" cy="5355263"/>
          </a:xfrm>
        </p:grpSpPr>
        <p:sp>
          <p:nvSpPr>
            <p:cNvPr id="16" name="Oval 15">
              <a:extLst>
                <a:ext uri="{FF2B5EF4-FFF2-40B4-BE49-F238E27FC236}">
                  <a16:creationId xmlns:a16="http://schemas.microsoft.com/office/drawing/2014/main" id="{C31EA660-5266-4A56-A7D6-0C1E6A3C6942}"/>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693BEC8D-B687-4817-9ACB-4BDD9224FA50}"/>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Circle: Hollow 17">
              <a:extLst>
                <a:ext uri="{FF2B5EF4-FFF2-40B4-BE49-F238E27FC236}">
                  <a16:creationId xmlns:a16="http://schemas.microsoft.com/office/drawing/2014/main" id="{7854D696-4032-463D-9207-225848DE9925}"/>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9" name="Oval 18">
              <a:extLst>
                <a:ext uri="{FF2B5EF4-FFF2-40B4-BE49-F238E27FC236}">
                  <a16:creationId xmlns:a16="http://schemas.microsoft.com/office/drawing/2014/main" id="{726B13DD-8B9E-45BE-B559-BB765425967D}"/>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Circle: Hollow 19">
              <a:extLst>
                <a:ext uri="{FF2B5EF4-FFF2-40B4-BE49-F238E27FC236}">
                  <a16:creationId xmlns:a16="http://schemas.microsoft.com/office/drawing/2014/main" id="{14140742-013B-4ADB-A18F-83BA2430A609}"/>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1" name="Oval 20">
              <a:extLst>
                <a:ext uri="{FF2B5EF4-FFF2-40B4-BE49-F238E27FC236}">
                  <a16:creationId xmlns:a16="http://schemas.microsoft.com/office/drawing/2014/main" id="{4392C1B2-0DC9-4ABF-8B99-CCFF5DBD265E}"/>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Circle: Hollow 21">
              <a:extLst>
                <a:ext uri="{FF2B5EF4-FFF2-40B4-BE49-F238E27FC236}">
                  <a16:creationId xmlns:a16="http://schemas.microsoft.com/office/drawing/2014/main" id="{05585273-FCAB-44B6-BE40-85BF8E6A96DA}"/>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Oval 22">
              <a:extLst>
                <a:ext uri="{FF2B5EF4-FFF2-40B4-BE49-F238E27FC236}">
                  <a16:creationId xmlns:a16="http://schemas.microsoft.com/office/drawing/2014/main" id="{300B9C4B-5CEA-4BFA-9B9C-1D73BA93AE90}"/>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Circle: Hollow 23">
              <a:extLst>
                <a:ext uri="{FF2B5EF4-FFF2-40B4-BE49-F238E27FC236}">
                  <a16:creationId xmlns:a16="http://schemas.microsoft.com/office/drawing/2014/main" id="{EB43A2BB-E209-4AB6-BB05-633F84CE4FB5}"/>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77F4B326-2C09-4758-AB22-5DC22D7940B0}"/>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A68E4810-BC5E-4BD3-BE2A-587F2162668C}"/>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41779BAB-9358-44D1-9C61-B395F8C75370}"/>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638BB871-BA65-47C8-8E8E-B58A87FCC4DA}"/>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9" name="Oval 28">
              <a:extLst>
                <a:ext uri="{FF2B5EF4-FFF2-40B4-BE49-F238E27FC236}">
                  <a16:creationId xmlns:a16="http://schemas.microsoft.com/office/drawing/2014/main" id="{D3FFCA38-51D6-4FD1-A6C2-53FFA937226C}"/>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0" name="Circle: Hollow 29">
              <a:extLst>
                <a:ext uri="{FF2B5EF4-FFF2-40B4-BE49-F238E27FC236}">
                  <a16:creationId xmlns:a16="http://schemas.microsoft.com/office/drawing/2014/main" id="{F431AEEC-0BF8-4932-BB17-153969613C9B}"/>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1" name="Oval 30">
              <a:extLst>
                <a:ext uri="{FF2B5EF4-FFF2-40B4-BE49-F238E27FC236}">
                  <a16:creationId xmlns:a16="http://schemas.microsoft.com/office/drawing/2014/main" id="{2C7349A2-898C-4034-AD8A-423440143357}"/>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CE82100B-D46E-4C02-AC3C-BB7CB5A0590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180E1F0B-C39F-4D4A-940A-ED5C3CDE1FE6}"/>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315D6CFA-0A9E-4873-A671-AAB73CE2BE1F}"/>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Oval 34">
              <a:extLst>
                <a:ext uri="{FF2B5EF4-FFF2-40B4-BE49-F238E27FC236}">
                  <a16:creationId xmlns:a16="http://schemas.microsoft.com/office/drawing/2014/main" id="{9B5318EB-C539-4ED3-AFD7-013F33B3897D}"/>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CA5B5448-A185-4451-941D-B3D444FF5134}"/>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4BA66155-B705-4FED-B920-2C8BA2BE8E6E}"/>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198640C-8FF9-4EDC-8495-E7CA72A46625}"/>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2192A3B8-787D-439C-BACD-79CD8260E84C}"/>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40" name="Oval 39">
              <a:extLst>
                <a:ext uri="{FF2B5EF4-FFF2-40B4-BE49-F238E27FC236}">
                  <a16:creationId xmlns:a16="http://schemas.microsoft.com/office/drawing/2014/main" id="{88EDF3D6-FE5D-4B26-9A59-4F175ADF2FB7}"/>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Oval 40">
              <a:extLst>
                <a:ext uri="{FF2B5EF4-FFF2-40B4-BE49-F238E27FC236}">
                  <a16:creationId xmlns:a16="http://schemas.microsoft.com/office/drawing/2014/main" id="{5C9353BB-5454-4454-86F9-4904F7F16A46}"/>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EE9A01FA-5DA3-4CA8-B74A-D12B71847986}"/>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3EE9D10C-502B-48D8-AFBB-882ABA7A73F8}"/>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5EDCAAD8-810E-4710-A0E5-1EB189EDE107}"/>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3B2BACA6-1DD9-483B-8391-C1E7D591E75F}"/>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6" name="Oval 45">
              <a:extLst>
                <a:ext uri="{FF2B5EF4-FFF2-40B4-BE49-F238E27FC236}">
                  <a16:creationId xmlns:a16="http://schemas.microsoft.com/office/drawing/2014/main" id="{6E9D910D-B2F0-4A1C-A05E-B79E1C9F7553}"/>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861137BA-27EE-4250-BB80-61C617B3A5B5}"/>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55C2A4BD-CD2D-43D3-9273-4DAE72C70AEB}"/>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A02B2099-5F55-4074-B0C1-21588F749585}"/>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E574E98C-09FE-4701-B95B-E364E7BAC78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Oval 50">
              <a:extLst>
                <a:ext uri="{FF2B5EF4-FFF2-40B4-BE49-F238E27FC236}">
                  <a16:creationId xmlns:a16="http://schemas.microsoft.com/office/drawing/2014/main" id="{A03763D6-FAA7-484B-84D7-FAB9EC860161}"/>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Oval 51">
              <a:extLst>
                <a:ext uri="{FF2B5EF4-FFF2-40B4-BE49-F238E27FC236}">
                  <a16:creationId xmlns:a16="http://schemas.microsoft.com/office/drawing/2014/main" id="{7B7B4583-A7A4-49BC-A13D-4173BFBBB9D0}"/>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Oval 52">
              <a:extLst>
                <a:ext uri="{FF2B5EF4-FFF2-40B4-BE49-F238E27FC236}">
                  <a16:creationId xmlns:a16="http://schemas.microsoft.com/office/drawing/2014/main" id="{8B8348E0-241D-4C64-8BE5-E243CF07DF73}"/>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Oval 53">
              <a:extLst>
                <a:ext uri="{FF2B5EF4-FFF2-40B4-BE49-F238E27FC236}">
                  <a16:creationId xmlns:a16="http://schemas.microsoft.com/office/drawing/2014/main" id="{53AD3BD8-CCF5-40F1-9D42-063E0AEE8237}"/>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Oval 54">
              <a:extLst>
                <a:ext uri="{FF2B5EF4-FFF2-40B4-BE49-F238E27FC236}">
                  <a16:creationId xmlns:a16="http://schemas.microsoft.com/office/drawing/2014/main" id="{83F720AD-C8DB-4F8E-A530-1CAB421B924C}"/>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Circle: Hollow 55">
              <a:extLst>
                <a:ext uri="{FF2B5EF4-FFF2-40B4-BE49-F238E27FC236}">
                  <a16:creationId xmlns:a16="http://schemas.microsoft.com/office/drawing/2014/main" id="{DFED4172-20AA-4993-AB8B-DB9042A26C58}"/>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7" name="Circle: Hollow 56">
              <a:extLst>
                <a:ext uri="{FF2B5EF4-FFF2-40B4-BE49-F238E27FC236}">
                  <a16:creationId xmlns:a16="http://schemas.microsoft.com/office/drawing/2014/main" id="{FA450EDC-1A24-4C82-9091-F0AD5E76F186}"/>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5D8E90DD-629B-BBD9-2DF4-A2AC1C34BC47}"/>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77B9BE65-EB90-0572-3B2E-AB612EF0F4F7}"/>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CD3F0093-6A8F-FCAF-8926-EBBE854BA6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0A8DAF30-7CA2-357B-5A6B-DA13E04763D5}"/>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3FC498F8-8B36-1C3C-FF13-8F322BA36E2B}"/>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13056422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PAGE IMAGE RIGHT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0" name="Picture Placeholder 239">
            <a:extLst>
              <a:ext uri="{FF2B5EF4-FFF2-40B4-BE49-F238E27FC236}">
                <a16:creationId xmlns:a16="http://schemas.microsoft.com/office/drawing/2014/main" id="{9461850F-80C9-4B8C-A8E7-EF6D8D02A0C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4218" y="3084076"/>
            <a:ext cx="3128359" cy="3128359"/>
          </a:xfrm>
          <a:prstGeom prst="ellipse">
            <a:avLst/>
          </a:prstGeom>
          <a:ln>
            <a:noFill/>
          </a:ln>
        </p:spPr>
      </p:pic>
      <p:sp>
        <p:nvSpPr>
          <p:cNvPr id="2" name="Text Placeholder 4">
            <a:extLst>
              <a:ext uri="{FF2B5EF4-FFF2-40B4-BE49-F238E27FC236}">
                <a16:creationId xmlns:a16="http://schemas.microsoft.com/office/drawing/2014/main" id="{6619BDFC-FBBB-AE65-DDBB-D904272D6A1A}"/>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7CB2B7A-11F6-CADB-71A5-912E7D8765A7}"/>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4049221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PAGE IMAGE RIGHT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7" name="Picture Placeholder 216">
            <a:extLst>
              <a:ext uri="{FF2B5EF4-FFF2-40B4-BE49-F238E27FC236}">
                <a16:creationId xmlns:a16="http://schemas.microsoft.com/office/drawing/2014/main" id="{DA64DE30-4E17-479B-A144-247C89F7CE0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38427" y="3078271"/>
            <a:ext cx="3128359" cy="3128359"/>
          </a:xfrm>
          <a:prstGeom prst="ellipse">
            <a:avLst/>
          </a:prstGeom>
          <a:ln>
            <a:noFill/>
          </a:ln>
        </p:spPr>
      </p:pic>
      <p:sp>
        <p:nvSpPr>
          <p:cNvPr id="2" name="Text Placeholder 4">
            <a:extLst>
              <a:ext uri="{FF2B5EF4-FFF2-40B4-BE49-F238E27FC236}">
                <a16:creationId xmlns:a16="http://schemas.microsoft.com/office/drawing/2014/main" id="{22197206-250A-B92B-B423-371C212FF990}"/>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C0DD9EC5-7233-B80F-346E-3ED393A9B1C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0651841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PAGE IMAGE RIGHT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4" name="Picture 23" descr="Shape, circle&#10;&#10;Description automatically generated">
            <a:extLst>
              <a:ext uri="{FF2B5EF4-FFF2-40B4-BE49-F238E27FC236}">
                <a16:creationId xmlns:a16="http://schemas.microsoft.com/office/drawing/2014/main" id="{CF4CE8D6-5767-4368-A797-8EFCF4C066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Oval 24">
            <a:extLst>
              <a:ext uri="{FF2B5EF4-FFF2-40B4-BE49-F238E27FC236}">
                <a16:creationId xmlns:a16="http://schemas.microsoft.com/office/drawing/2014/main" id="{3F58BAEB-6DBB-4EF2-B0FB-E2CFAD2294F3}"/>
              </a:ext>
            </a:extLst>
          </p:cNvPr>
          <p:cNvSpPr>
            <a:spLocks noChangeAspect="1"/>
          </p:cNvSpPr>
          <p:nvPr userDrawn="1"/>
        </p:nvSpPr>
        <p:spPr>
          <a:xfrm>
            <a:off x="8816540" y="5844425"/>
            <a:ext cx="175952" cy="174255"/>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Oval 25">
            <a:extLst>
              <a:ext uri="{FF2B5EF4-FFF2-40B4-BE49-F238E27FC236}">
                <a16:creationId xmlns:a16="http://schemas.microsoft.com/office/drawing/2014/main" id="{F959E07A-F289-4281-9EB3-E5D873F86035}"/>
              </a:ext>
            </a:extLst>
          </p:cNvPr>
          <p:cNvSpPr>
            <a:spLocks noChangeAspect="1"/>
          </p:cNvSpPr>
          <p:nvPr userDrawn="1"/>
        </p:nvSpPr>
        <p:spPr>
          <a:xfrm>
            <a:off x="9229794" y="6376603"/>
            <a:ext cx="86693" cy="85857"/>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Placeholder 79">
            <a:extLst>
              <a:ext uri="{FF2B5EF4-FFF2-40B4-BE49-F238E27FC236}">
                <a16:creationId xmlns:a16="http://schemas.microsoft.com/office/drawing/2014/main" id="{2603C81C-176A-4A44-8738-465B40CE5CD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38514" y="3070350"/>
            <a:ext cx="3128359" cy="3128359"/>
          </a:xfrm>
          <a:prstGeom prst="ellipse">
            <a:avLst/>
          </a:prstGeom>
          <a:ln>
            <a:noFill/>
          </a:ln>
        </p:spPr>
      </p:pic>
      <p:sp>
        <p:nvSpPr>
          <p:cNvPr id="2" name="Text Placeholder 4">
            <a:extLst>
              <a:ext uri="{FF2B5EF4-FFF2-40B4-BE49-F238E27FC236}">
                <a16:creationId xmlns:a16="http://schemas.microsoft.com/office/drawing/2014/main" id="{65A204B3-BD35-F274-B3EA-0F9E29AEF872}"/>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55D3704-4DEB-3B87-B511-D9EFDB5EAA9C}"/>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43188477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PAGE IMAGE RIGHT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Oval 18">
            <a:extLst>
              <a:ext uri="{FF2B5EF4-FFF2-40B4-BE49-F238E27FC236}">
                <a16:creationId xmlns:a16="http://schemas.microsoft.com/office/drawing/2014/main" id="{053776A9-6127-48AE-9C72-E31814659BD4}"/>
              </a:ext>
            </a:extLst>
          </p:cNvPr>
          <p:cNvSpPr>
            <a:spLocks noChangeAspect="1"/>
          </p:cNvSpPr>
          <p:nvPr userDrawn="1"/>
        </p:nvSpPr>
        <p:spPr>
          <a:xfrm>
            <a:off x="8816540" y="5844425"/>
            <a:ext cx="175952" cy="17425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Oval 23">
            <a:extLst>
              <a:ext uri="{FF2B5EF4-FFF2-40B4-BE49-F238E27FC236}">
                <a16:creationId xmlns:a16="http://schemas.microsoft.com/office/drawing/2014/main" id="{9CB8A2D7-0929-4125-9B8D-CEB46C7D3EDF}"/>
              </a:ext>
            </a:extLst>
          </p:cNvPr>
          <p:cNvSpPr>
            <a:spLocks noChangeAspect="1"/>
          </p:cNvSpPr>
          <p:nvPr userDrawn="1"/>
        </p:nvSpPr>
        <p:spPr>
          <a:xfrm>
            <a:off x="9229794" y="6376603"/>
            <a:ext cx="86693" cy="8585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5" name="Picture Placeholder 69">
            <a:extLst>
              <a:ext uri="{FF2B5EF4-FFF2-40B4-BE49-F238E27FC236}">
                <a16:creationId xmlns:a16="http://schemas.microsoft.com/office/drawing/2014/main" id="{12DB180C-23DD-4196-9608-03D1822DDDD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6918" y="3071376"/>
            <a:ext cx="3128359" cy="3128359"/>
          </a:xfrm>
          <a:prstGeom prst="ellipse">
            <a:avLst/>
          </a:prstGeom>
          <a:ln>
            <a:noFill/>
          </a:ln>
        </p:spPr>
      </p:pic>
      <p:sp>
        <p:nvSpPr>
          <p:cNvPr id="2" name="Text Placeholder 4">
            <a:extLst>
              <a:ext uri="{FF2B5EF4-FFF2-40B4-BE49-F238E27FC236}">
                <a16:creationId xmlns:a16="http://schemas.microsoft.com/office/drawing/2014/main" id="{420F16EF-E8A4-B5B8-FA34-9753C57D0105}"/>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DDA463EB-8B0A-42E4-7C0C-078530A6548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7934219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PAGE IMAGE RIGHT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5" name="Circle: Hollow 24">
            <a:extLst>
              <a:ext uri="{FF2B5EF4-FFF2-40B4-BE49-F238E27FC236}">
                <a16:creationId xmlns:a16="http://schemas.microsoft.com/office/drawing/2014/main" id="{A8C6FC33-890B-4699-989C-4ED1262EFB5F}"/>
              </a:ext>
            </a:extLst>
          </p:cNvPr>
          <p:cNvSpPr>
            <a:spLocks noChangeAspect="1"/>
          </p:cNvSpPr>
          <p:nvPr userDrawn="1"/>
        </p:nvSpPr>
        <p:spPr>
          <a:xfrm>
            <a:off x="8471528" y="2834578"/>
            <a:ext cx="3653741" cy="3618510"/>
          </a:xfrm>
          <a:prstGeom prst="donut">
            <a:avLst>
              <a:gd name="adj" fmla="val 1425"/>
            </a:avLst>
          </a:prstGeom>
          <a:solidFill>
            <a:srgbClr val="00AE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Circle: Hollow 25">
            <a:extLst>
              <a:ext uri="{FF2B5EF4-FFF2-40B4-BE49-F238E27FC236}">
                <a16:creationId xmlns:a16="http://schemas.microsoft.com/office/drawing/2014/main" id="{84D672E0-4238-4B77-B14F-1563300BBE02}"/>
              </a:ext>
            </a:extLst>
          </p:cNvPr>
          <p:cNvSpPr>
            <a:spLocks noChangeAspect="1"/>
          </p:cNvSpPr>
          <p:nvPr userDrawn="1"/>
        </p:nvSpPr>
        <p:spPr>
          <a:xfrm>
            <a:off x="8572113" y="2924275"/>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8" name="Oval 27">
            <a:extLst>
              <a:ext uri="{FF2B5EF4-FFF2-40B4-BE49-F238E27FC236}">
                <a16:creationId xmlns:a16="http://schemas.microsoft.com/office/drawing/2014/main" id="{76AB849C-CC41-470A-8FA5-AA561F76F84E}"/>
              </a:ext>
            </a:extLst>
          </p:cNvPr>
          <p:cNvSpPr>
            <a:spLocks noChangeAspect="1"/>
          </p:cNvSpPr>
          <p:nvPr userDrawn="1"/>
        </p:nvSpPr>
        <p:spPr>
          <a:xfrm>
            <a:off x="8816540" y="5844425"/>
            <a:ext cx="175952" cy="174255"/>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29BAF3EA-0715-4594-BB55-9A49834DF666}"/>
              </a:ext>
            </a:extLst>
          </p:cNvPr>
          <p:cNvSpPr>
            <a:spLocks noChangeAspect="1"/>
          </p:cNvSpPr>
          <p:nvPr userDrawn="1"/>
        </p:nvSpPr>
        <p:spPr>
          <a:xfrm>
            <a:off x="9229794" y="6376603"/>
            <a:ext cx="86693" cy="8585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Placeholder 74">
            <a:extLst>
              <a:ext uri="{FF2B5EF4-FFF2-40B4-BE49-F238E27FC236}">
                <a16:creationId xmlns:a16="http://schemas.microsoft.com/office/drawing/2014/main" id="{AE47E58D-ADE0-43FB-9C20-6642FC7BBCE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8744856" y="3078271"/>
            <a:ext cx="3128359" cy="3128359"/>
          </a:xfrm>
          <a:prstGeom prst="ellipse">
            <a:avLst/>
          </a:prstGeom>
          <a:ln>
            <a:noFill/>
          </a:ln>
        </p:spPr>
      </p:pic>
      <p:sp>
        <p:nvSpPr>
          <p:cNvPr id="2" name="Text Placeholder 4">
            <a:extLst>
              <a:ext uri="{FF2B5EF4-FFF2-40B4-BE49-F238E27FC236}">
                <a16:creationId xmlns:a16="http://schemas.microsoft.com/office/drawing/2014/main" id="{422C9504-F4C8-8AA1-D2F7-F5CCF69F186F}"/>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334E917-E0D1-A947-27FB-138D986103C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8186047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PAGE IMAGE RIGHT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17" name="Picture 16" descr="Shape, circle&#10;&#10;Description automatically generated">
            <a:extLst>
              <a:ext uri="{FF2B5EF4-FFF2-40B4-BE49-F238E27FC236}">
                <a16:creationId xmlns:a16="http://schemas.microsoft.com/office/drawing/2014/main" id="{C301A06E-E40C-43DA-A693-88FD6CC669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1191" y="252546"/>
            <a:ext cx="5835591" cy="5087438"/>
          </a:xfrm>
          <a:prstGeom prst="rect">
            <a:avLst/>
          </a:prstGeom>
        </p:spPr>
      </p:pic>
      <p:sp>
        <p:nvSpPr>
          <p:cNvPr id="20" name="Circle: Hollow 19">
            <a:extLst>
              <a:ext uri="{FF2B5EF4-FFF2-40B4-BE49-F238E27FC236}">
                <a16:creationId xmlns:a16="http://schemas.microsoft.com/office/drawing/2014/main" id="{56DE8111-819E-4672-AF15-09E77F7E2E79}"/>
              </a:ext>
            </a:extLst>
          </p:cNvPr>
          <p:cNvSpPr>
            <a:spLocks noChangeAspect="1"/>
          </p:cNvSpPr>
          <p:nvPr userDrawn="1"/>
        </p:nvSpPr>
        <p:spPr>
          <a:xfrm>
            <a:off x="8471528" y="2834578"/>
            <a:ext cx="3653741" cy="3618510"/>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3" name="Rectangle: Rounded Corners 22">
            <a:extLst>
              <a:ext uri="{FF2B5EF4-FFF2-40B4-BE49-F238E27FC236}">
                <a16:creationId xmlns:a16="http://schemas.microsoft.com/office/drawing/2014/main" id="{CA802725-9576-4666-A391-F4B5CC304417}"/>
              </a:ext>
            </a:extLst>
          </p:cNvPr>
          <p:cNvSpPr/>
          <p:nvPr userDrawn="1"/>
        </p:nvSpPr>
        <p:spPr>
          <a:xfrm>
            <a:off x="583695" y="1460651"/>
            <a:ext cx="2885332"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D2514378-1A79-4680-A38D-1385D5ECBE77}"/>
              </a:ext>
            </a:extLst>
          </p:cNvPr>
          <p:cNvSpPr/>
          <p:nvPr userDrawn="1"/>
        </p:nvSpPr>
        <p:spPr>
          <a:xfrm>
            <a:off x="6932245" y="1460651"/>
            <a:ext cx="2885332"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CA76E559-0F1B-4453-B9E5-4917159122CA}"/>
              </a:ext>
            </a:extLst>
          </p:cNvPr>
          <p:cNvSpPr/>
          <p:nvPr userDrawn="1"/>
        </p:nvSpPr>
        <p:spPr>
          <a:xfrm>
            <a:off x="163534" y="1852844"/>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BD1CB207-8FEA-4C48-91E9-64F40B3CDD79}"/>
              </a:ext>
            </a:extLst>
          </p:cNvPr>
          <p:cNvSpPr/>
          <p:nvPr userDrawn="1"/>
        </p:nvSpPr>
        <p:spPr>
          <a:xfrm>
            <a:off x="258705" y="1805795"/>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Rounded Corners 13">
            <a:extLst>
              <a:ext uri="{FF2B5EF4-FFF2-40B4-BE49-F238E27FC236}">
                <a16:creationId xmlns:a16="http://schemas.microsoft.com/office/drawing/2014/main" id="{420D866C-5DCD-4EE9-808D-DD54A112B074}"/>
              </a:ext>
            </a:extLst>
          </p:cNvPr>
          <p:cNvSpPr/>
          <p:nvPr userDrawn="1"/>
        </p:nvSpPr>
        <p:spPr>
          <a:xfrm>
            <a:off x="366502" y="1769942"/>
            <a:ext cx="9740900" cy="4783468"/>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BB7D104-5EDB-4EBE-8D72-11A89EF5AF12}"/>
              </a:ext>
            </a:extLst>
          </p:cNvPr>
          <p:cNvSpPr/>
          <p:nvPr userDrawn="1"/>
        </p:nvSpPr>
        <p:spPr>
          <a:xfrm>
            <a:off x="3748912" y="1460651"/>
            <a:ext cx="2885332"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557D932-F9C5-4D3F-B5C7-6D75C6E5C90F}"/>
              </a:ext>
            </a:extLst>
          </p:cNvPr>
          <p:cNvSpPr>
            <a:spLocks noChangeAspect="1"/>
          </p:cNvSpPr>
          <p:nvPr userDrawn="1"/>
        </p:nvSpPr>
        <p:spPr>
          <a:xfrm>
            <a:off x="8572113" y="2924275"/>
            <a:ext cx="3464711" cy="3431302"/>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Picture Placeholder 2">
            <a:extLst>
              <a:ext uri="{FF2B5EF4-FFF2-40B4-BE49-F238E27FC236}">
                <a16:creationId xmlns:a16="http://schemas.microsoft.com/office/drawing/2014/main" id="{C6CA69D8-19F0-4828-83B5-AEBA0A9C72E0}"/>
              </a:ext>
            </a:extLst>
          </p:cNvPr>
          <p:cNvSpPr>
            <a:spLocks noGrp="1" noChangeAspect="1"/>
          </p:cNvSpPr>
          <p:nvPr>
            <p:ph type="pic" sz="quarter" idx="10"/>
          </p:nvPr>
        </p:nvSpPr>
        <p:spPr>
          <a:xfrm>
            <a:off x="8748942" y="3074902"/>
            <a:ext cx="3128359" cy="3128359"/>
          </a:xfrm>
          <a:prstGeom prst="ellipse">
            <a:avLst/>
          </a:prstGeom>
          <a:ln>
            <a:noFill/>
          </a:ln>
        </p:spPr>
        <p:txBody>
          <a:bodyPr/>
          <a:lstStyle/>
          <a:p>
            <a:endParaRPr lang="nl-NL"/>
          </a:p>
        </p:txBody>
      </p:sp>
      <p:sp>
        <p:nvSpPr>
          <p:cNvPr id="24" name="Oval 23">
            <a:extLst>
              <a:ext uri="{FF2B5EF4-FFF2-40B4-BE49-F238E27FC236}">
                <a16:creationId xmlns:a16="http://schemas.microsoft.com/office/drawing/2014/main" id="{30BBC232-BAC0-40A1-8F42-FCA7EA500566}"/>
              </a:ext>
            </a:extLst>
          </p:cNvPr>
          <p:cNvSpPr>
            <a:spLocks noChangeAspect="1"/>
          </p:cNvSpPr>
          <p:nvPr userDrawn="1"/>
        </p:nvSpPr>
        <p:spPr>
          <a:xfrm>
            <a:off x="8816540" y="5844425"/>
            <a:ext cx="175952" cy="174255"/>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Oval 24">
            <a:extLst>
              <a:ext uri="{FF2B5EF4-FFF2-40B4-BE49-F238E27FC236}">
                <a16:creationId xmlns:a16="http://schemas.microsoft.com/office/drawing/2014/main" id="{20ADA4AA-4699-4CC0-AECD-6B3A36C02E10}"/>
              </a:ext>
            </a:extLst>
          </p:cNvPr>
          <p:cNvSpPr>
            <a:spLocks noChangeAspect="1"/>
          </p:cNvSpPr>
          <p:nvPr userDrawn="1"/>
        </p:nvSpPr>
        <p:spPr>
          <a:xfrm>
            <a:off x="9229794" y="6376603"/>
            <a:ext cx="86693" cy="85857"/>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 Placeholder 4">
            <a:extLst>
              <a:ext uri="{FF2B5EF4-FFF2-40B4-BE49-F238E27FC236}">
                <a16:creationId xmlns:a16="http://schemas.microsoft.com/office/drawing/2014/main" id="{25EE7E56-16BA-D1D3-B124-41F698FA43FB}"/>
              </a:ext>
            </a:extLst>
          </p:cNvPr>
          <p:cNvSpPr>
            <a:spLocks noGrp="1"/>
          </p:cNvSpPr>
          <p:nvPr>
            <p:ph type="body" sz="quarter" idx="11"/>
          </p:nvPr>
        </p:nvSpPr>
        <p:spPr>
          <a:xfrm>
            <a:off x="684448" y="2181225"/>
            <a:ext cx="7596116" cy="4159609"/>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520F4C6-9992-86B6-7DD2-A305D7621826}"/>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2670035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PAGE IMAGE TOP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5" name="Picture Placeholder 24">
            <a:extLst>
              <a:ext uri="{FF2B5EF4-FFF2-40B4-BE49-F238E27FC236}">
                <a16:creationId xmlns:a16="http://schemas.microsoft.com/office/drawing/2014/main" id="{B14C1D5E-D5B8-4181-86A0-A33091D97C7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3437" y="-184771"/>
            <a:ext cx="3128359" cy="3128359"/>
          </a:xfrm>
          <a:prstGeom prst="ellipse">
            <a:avLst/>
          </a:prstGeom>
          <a:ln>
            <a:noFill/>
          </a:ln>
        </p:spPr>
      </p:pic>
      <p:sp>
        <p:nvSpPr>
          <p:cNvPr id="2" name="Text Placeholder 4">
            <a:extLst>
              <a:ext uri="{FF2B5EF4-FFF2-40B4-BE49-F238E27FC236}">
                <a16:creationId xmlns:a16="http://schemas.microsoft.com/office/drawing/2014/main" id="{EE5DFE50-C942-53B4-E8A6-495C1347A1FA}"/>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B15AAE5C-F217-FB2D-A512-DE36C96C9761}"/>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0482091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PAGE IMAGE TOP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14">
            <a:extLst>
              <a:ext uri="{FF2B5EF4-FFF2-40B4-BE49-F238E27FC236}">
                <a16:creationId xmlns:a16="http://schemas.microsoft.com/office/drawing/2014/main" id="{DE0BCFC4-CC25-42AF-86DC-D7E4B67E66E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0540" y="-197471"/>
            <a:ext cx="3128359" cy="3128359"/>
          </a:xfrm>
          <a:prstGeom prst="ellipse">
            <a:avLst/>
          </a:prstGeom>
          <a:ln>
            <a:noFill/>
          </a:ln>
        </p:spPr>
      </p:pic>
      <p:sp>
        <p:nvSpPr>
          <p:cNvPr id="2" name="Text Placeholder 4">
            <a:extLst>
              <a:ext uri="{FF2B5EF4-FFF2-40B4-BE49-F238E27FC236}">
                <a16:creationId xmlns:a16="http://schemas.microsoft.com/office/drawing/2014/main" id="{7E56700A-7077-27EF-6220-D14D07699FC6}"/>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0BF2EB3-91B8-C6F3-22B2-6210172DD976}"/>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2745005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PAGE IMAGE TOP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9">
            <a:extLst>
              <a:ext uri="{FF2B5EF4-FFF2-40B4-BE49-F238E27FC236}">
                <a16:creationId xmlns:a16="http://schemas.microsoft.com/office/drawing/2014/main" id="{520A71E0-7177-4D61-9066-6FC5199641E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8725" y="-187439"/>
            <a:ext cx="3128359" cy="3128359"/>
          </a:xfrm>
          <a:prstGeom prst="ellipse">
            <a:avLst/>
          </a:prstGeom>
        </p:spPr>
      </p:pic>
      <p:sp>
        <p:nvSpPr>
          <p:cNvPr id="2" name="Text Placeholder 4">
            <a:extLst>
              <a:ext uri="{FF2B5EF4-FFF2-40B4-BE49-F238E27FC236}">
                <a16:creationId xmlns:a16="http://schemas.microsoft.com/office/drawing/2014/main" id="{AC6A0537-F6F5-6630-6BAE-9557C8812A05}"/>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0EFF207-DD5D-3118-DBE8-A4D495F1F06C}"/>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6953105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PAGE IMAGE TOP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2">
            <a:extLst>
              <a:ext uri="{FF2B5EF4-FFF2-40B4-BE49-F238E27FC236}">
                <a16:creationId xmlns:a16="http://schemas.microsoft.com/office/drawing/2014/main" id="{4C53DADF-2E96-4FD0-9558-AEEEA600145E}"/>
              </a:ext>
            </a:extLst>
          </p:cNvPr>
          <p:cNvPicPr preferRelativeResize="0">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rot="1044149">
            <a:off x="9371652" y="-147391"/>
            <a:ext cx="3050745" cy="3050745"/>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4">
            <a:extLst>
              <a:ext uri="{FF2B5EF4-FFF2-40B4-BE49-F238E27FC236}">
                <a16:creationId xmlns:a16="http://schemas.microsoft.com/office/drawing/2014/main" id="{DD7C5BB1-53BE-99C1-D20B-3ECB21A34F94}"/>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9CC6126-40A6-4CF8-26E0-F0477D33D49E}"/>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696944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LASHPAGE SA 1">
    <p:bg>
      <p:bgPr>
        <a:solidFill>
          <a:schemeClr val="bg1"/>
        </a:solidFill>
        <a:effectLst/>
      </p:bgPr>
    </p:bg>
    <p:spTree>
      <p:nvGrpSpPr>
        <p:cNvPr id="1" name=""/>
        <p:cNvGrpSpPr/>
        <p:nvPr/>
      </p:nvGrpSpPr>
      <p:grpSpPr>
        <a:xfrm>
          <a:off x="0" y="0"/>
          <a:ext cx="0" cy="0"/>
          <a:chOff x="0" y="0"/>
          <a:chExt cx="0" cy="0"/>
        </a:xfrm>
      </p:grpSpPr>
      <p:pic>
        <p:nvPicPr>
          <p:cNvPr id="4100" name="Picture 4">
            <a:extLst>
              <a:ext uri="{FF2B5EF4-FFF2-40B4-BE49-F238E27FC236}">
                <a16:creationId xmlns:a16="http://schemas.microsoft.com/office/drawing/2014/main" id="{77D461A4-8970-4809-ABD0-39660BFC7476}"/>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22" y="0"/>
            <a:ext cx="700241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EEEE534E-73CF-FC2F-1094-86D5E1037168}"/>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85A258DB-7F1D-854F-BD1D-FC95EA0A2061}"/>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4C0E3DEB-A09A-603C-E2AD-F722DBE6815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9FA4BF4D-099D-7FF3-D9B2-8B3C8CF16635}"/>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37A96A54-3597-6070-21B3-FAC6E5FF2250}"/>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36552093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PAGE IMAGE TOP AS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Placeholder 43" descr="A picture containing person&#10;&#10;Description automatically generated">
            <a:extLst>
              <a:ext uri="{FF2B5EF4-FFF2-40B4-BE49-F238E27FC236}">
                <a16:creationId xmlns:a16="http://schemas.microsoft.com/office/drawing/2014/main" id="{08BCFD84-0579-4926-BBFC-C7CFB3D06E8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1117" y="-191121"/>
            <a:ext cx="3128359" cy="3128359"/>
          </a:xfrm>
          <a:prstGeom prst="ellipse">
            <a:avLst/>
          </a:prstGeom>
          <a:ln>
            <a:noFill/>
          </a:ln>
        </p:spPr>
      </p:pic>
      <p:sp>
        <p:nvSpPr>
          <p:cNvPr id="2" name="Text Placeholder 4">
            <a:extLst>
              <a:ext uri="{FF2B5EF4-FFF2-40B4-BE49-F238E27FC236}">
                <a16:creationId xmlns:a16="http://schemas.microsoft.com/office/drawing/2014/main" id="{D849E9E7-262E-2BFC-991B-9FD875ADED06}"/>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FB64F28-47D8-E7FB-222A-4BACE3EDBF3E}"/>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6049095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PAGE IMAGE TOP AS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9" descr="A person with flowers on the head&#10;&#10;Description automatically generated with medium confidence">
            <a:extLst>
              <a:ext uri="{FF2B5EF4-FFF2-40B4-BE49-F238E27FC236}">
                <a16:creationId xmlns:a16="http://schemas.microsoft.com/office/drawing/2014/main" id="{CA779867-0237-46AD-A0F6-961600B32B6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1592" y="-214772"/>
            <a:ext cx="3128359" cy="3128359"/>
          </a:xfrm>
          <a:prstGeom prst="ellipse">
            <a:avLst/>
          </a:prstGeom>
          <a:ln>
            <a:noFill/>
          </a:ln>
        </p:spPr>
      </p:pic>
      <p:sp>
        <p:nvSpPr>
          <p:cNvPr id="2" name="Text Placeholder 4">
            <a:extLst>
              <a:ext uri="{FF2B5EF4-FFF2-40B4-BE49-F238E27FC236}">
                <a16:creationId xmlns:a16="http://schemas.microsoft.com/office/drawing/2014/main" id="{74AE4EEC-CA6D-D964-9CB5-A6496D37CD2A}"/>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39F3FC1-80E6-4912-1445-B8E58712D8CC}"/>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0056185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PAGE IMAGE TOP AS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34" descr="A group of people sitting on stairs looking at a computer&#10;&#10;Description automatically generated with low confidence">
            <a:extLst>
              <a:ext uri="{FF2B5EF4-FFF2-40B4-BE49-F238E27FC236}">
                <a16:creationId xmlns:a16="http://schemas.microsoft.com/office/drawing/2014/main" id="{96500467-F130-4FDC-88F2-FFB6E3A03D0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7187" y="-181596"/>
            <a:ext cx="3128359" cy="3128359"/>
          </a:xfrm>
          <a:prstGeom prst="ellipse">
            <a:avLst/>
          </a:prstGeom>
          <a:ln>
            <a:noFill/>
          </a:ln>
        </p:spPr>
      </p:pic>
      <p:sp>
        <p:nvSpPr>
          <p:cNvPr id="2" name="Text Placeholder 4">
            <a:extLst>
              <a:ext uri="{FF2B5EF4-FFF2-40B4-BE49-F238E27FC236}">
                <a16:creationId xmlns:a16="http://schemas.microsoft.com/office/drawing/2014/main" id="{58566FFE-B91F-BA9E-37D9-4E8727810823}"/>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5BC9B14-8C6A-ED00-E12E-B216D5430BB5}"/>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6489803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PAGE IMAGE TOP AS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48" descr="A person writing on a chalkboard&#10;&#10;Description automatically generated with medium confidence">
            <a:extLst>
              <a:ext uri="{FF2B5EF4-FFF2-40B4-BE49-F238E27FC236}">
                <a16:creationId xmlns:a16="http://schemas.microsoft.com/office/drawing/2014/main" id="{15CE9E89-66A1-4CED-8762-3831666849F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6612" y="-199565"/>
            <a:ext cx="3128359" cy="3128359"/>
          </a:xfrm>
          <a:prstGeom prst="ellipse">
            <a:avLst/>
          </a:prstGeom>
          <a:ln>
            <a:noFill/>
          </a:ln>
        </p:spPr>
      </p:pic>
      <p:sp>
        <p:nvSpPr>
          <p:cNvPr id="2" name="Text Placeholder 4">
            <a:extLst>
              <a:ext uri="{FF2B5EF4-FFF2-40B4-BE49-F238E27FC236}">
                <a16:creationId xmlns:a16="http://schemas.microsoft.com/office/drawing/2014/main" id="{32AF1072-E84E-D865-2A78-9C92D5B6A998}"/>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A8E6575-C958-1D5C-3FD2-95BDA0203BD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4332773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PAGE IMAGE TOP SA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101">
            <a:extLst>
              <a:ext uri="{FF2B5EF4-FFF2-40B4-BE49-F238E27FC236}">
                <a16:creationId xmlns:a16="http://schemas.microsoft.com/office/drawing/2014/main" id="{86D8F57F-56C0-4587-B013-ACC9DA32D7D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27201" y="-184771"/>
            <a:ext cx="3128359" cy="3128359"/>
          </a:xfrm>
          <a:prstGeom prst="ellipse">
            <a:avLst/>
          </a:prstGeom>
          <a:ln>
            <a:noFill/>
          </a:ln>
        </p:spPr>
      </p:pic>
      <p:sp>
        <p:nvSpPr>
          <p:cNvPr id="2" name="Text Placeholder 4">
            <a:extLst>
              <a:ext uri="{FF2B5EF4-FFF2-40B4-BE49-F238E27FC236}">
                <a16:creationId xmlns:a16="http://schemas.microsoft.com/office/drawing/2014/main" id="{C1F6FF43-1B44-0218-BE6D-74B0EEE7240C}"/>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F3BF8BBA-2980-2654-09C8-5566398C92FC}"/>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0686796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PAGE IMAGE TOP SA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Placeholder 120" descr="A group of people posing for a photo&#10;&#10;Description automatically generated with low confidence">
            <a:extLst>
              <a:ext uri="{FF2B5EF4-FFF2-40B4-BE49-F238E27FC236}">
                <a16:creationId xmlns:a16="http://schemas.microsoft.com/office/drawing/2014/main" id="{8AF64015-9027-4C00-AA13-27AB6E8C50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26636" y="-197471"/>
            <a:ext cx="3128359" cy="3128359"/>
          </a:xfrm>
          <a:prstGeom prst="ellipse">
            <a:avLst/>
          </a:prstGeom>
          <a:ln>
            <a:noFill/>
          </a:ln>
        </p:spPr>
      </p:pic>
      <p:sp>
        <p:nvSpPr>
          <p:cNvPr id="2" name="Text Placeholder 4">
            <a:extLst>
              <a:ext uri="{FF2B5EF4-FFF2-40B4-BE49-F238E27FC236}">
                <a16:creationId xmlns:a16="http://schemas.microsoft.com/office/drawing/2014/main" id="{5B337798-3004-B2F2-BD4A-3517AFE49279}"/>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042078EF-495C-1EE1-D96A-AF0E5D03BDFB}"/>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6669551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PAGE IMAGE TOP SA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0" name="Picture Placeholder 115">
            <a:extLst>
              <a:ext uri="{FF2B5EF4-FFF2-40B4-BE49-F238E27FC236}">
                <a16:creationId xmlns:a16="http://schemas.microsoft.com/office/drawing/2014/main" id="{CFFEB35F-6F7F-44D3-AC0B-C6A452C1684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48002" y="-184771"/>
            <a:ext cx="3128359" cy="3128359"/>
          </a:xfrm>
          <a:prstGeom prst="ellipse">
            <a:avLst/>
          </a:prstGeom>
          <a:ln>
            <a:noFill/>
          </a:ln>
        </p:spPr>
      </p:pic>
      <p:sp>
        <p:nvSpPr>
          <p:cNvPr id="2" name="Text Placeholder 4">
            <a:extLst>
              <a:ext uri="{FF2B5EF4-FFF2-40B4-BE49-F238E27FC236}">
                <a16:creationId xmlns:a16="http://schemas.microsoft.com/office/drawing/2014/main" id="{F9997CC1-EAD6-F97E-D502-8E39E8EA080D}"/>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D41CEAB-B7D4-E7AC-212F-8C7E17E65541}"/>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8971812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PAGE IMAGE TOP SA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111" descr="A picture containing text, person, feet&#10;&#10;Description automatically generated">
            <a:extLst>
              <a:ext uri="{FF2B5EF4-FFF2-40B4-BE49-F238E27FC236}">
                <a16:creationId xmlns:a16="http://schemas.microsoft.com/office/drawing/2014/main" id="{F6ED375F-7F58-4C80-9463-D3CB2D5A93C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6137" y="-172071"/>
            <a:ext cx="3128359" cy="3128359"/>
          </a:xfrm>
          <a:prstGeom prst="ellipse">
            <a:avLst/>
          </a:prstGeom>
          <a:ln>
            <a:noFill/>
          </a:ln>
        </p:spPr>
      </p:pic>
      <p:sp>
        <p:nvSpPr>
          <p:cNvPr id="2" name="Text Placeholder 4">
            <a:extLst>
              <a:ext uri="{FF2B5EF4-FFF2-40B4-BE49-F238E27FC236}">
                <a16:creationId xmlns:a16="http://schemas.microsoft.com/office/drawing/2014/main" id="{93B0EC30-966F-CE1F-BEE8-E7ECE82E97CF}"/>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41D0FE37-0B25-462A-A65B-1FC1558857F2}"/>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624185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PAGE IMAGE TOP WE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4" name="Picture Placeholder 261" descr="A person holding a football ball&#10;&#10;Description automatically generated">
            <a:extLst>
              <a:ext uri="{FF2B5EF4-FFF2-40B4-BE49-F238E27FC236}">
                <a16:creationId xmlns:a16="http://schemas.microsoft.com/office/drawing/2014/main" id="{F705FA6C-BF95-4E05-93CA-B7ED29F1BA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4292" y="-194068"/>
            <a:ext cx="3128359" cy="3128359"/>
          </a:xfrm>
          <a:prstGeom prst="ellipse">
            <a:avLst/>
          </a:prstGeom>
          <a:ln>
            <a:noFill/>
          </a:ln>
        </p:spPr>
      </p:pic>
      <p:sp>
        <p:nvSpPr>
          <p:cNvPr id="2" name="Text Placeholder 4">
            <a:extLst>
              <a:ext uri="{FF2B5EF4-FFF2-40B4-BE49-F238E27FC236}">
                <a16:creationId xmlns:a16="http://schemas.microsoft.com/office/drawing/2014/main" id="{249CB060-90D4-4815-BF9B-D001CB268BBC}"/>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43C93D8-D9EE-816E-B63D-731C2CB4CD1B}"/>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3387103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PAGE IMAGE TOP WE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3" name="Picture Placeholder 256" descr="A group of people smiling&#10;&#10;Description automatically generated with low confidence">
            <a:extLst>
              <a:ext uri="{FF2B5EF4-FFF2-40B4-BE49-F238E27FC236}">
                <a16:creationId xmlns:a16="http://schemas.microsoft.com/office/drawing/2014/main" id="{0D8DA78A-2BCE-4BBC-BE2E-089E1489887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6137" y="-196893"/>
            <a:ext cx="3128359" cy="3128359"/>
          </a:xfrm>
          <a:prstGeom prst="ellipse">
            <a:avLst/>
          </a:prstGeom>
          <a:ln>
            <a:noFill/>
          </a:ln>
        </p:spPr>
      </p:pic>
      <p:sp>
        <p:nvSpPr>
          <p:cNvPr id="2" name="Text Placeholder 4">
            <a:extLst>
              <a:ext uri="{FF2B5EF4-FFF2-40B4-BE49-F238E27FC236}">
                <a16:creationId xmlns:a16="http://schemas.microsoft.com/office/drawing/2014/main" id="{035527CE-B2D2-1972-687D-50447AB4C3B4}"/>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940D12F8-6C58-04E3-FEC0-242D14B0206D}"/>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858231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ASHPAGE SA 2">
    <p:bg>
      <p:bgPr>
        <a:solidFill>
          <a:schemeClr val="bg1"/>
        </a:solidFill>
        <a:effectLst/>
      </p:bgPr>
    </p:bg>
    <p:spTree>
      <p:nvGrpSpPr>
        <p:cNvPr id="1" name=""/>
        <p:cNvGrpSpPr/>
        <p:nvPr/>
      </p:nvGrpSpPr>
      <p:grpSpPr>
        <a:xfrm>
          <a:off x="0" y="0"/>
          <a:ext cx="0" cy="0"/>
          <a:chOff x="0" y="0"/>
          <a:chExt cx="0" cy="0"/>
        </a:xfrm>
      </p:grpSpPr>
      <p:pic>
        <p:nvPicPr>
          <p:cNvPr id="53" name="Picture 2">
            <a:extLst>
              <a:ext uri="{FF2B5EF4-FFF2-40B4-BE49-F238E27FC236}">
                <a16:creationId xmlns:a16="http://schemas.microsoft.com/office/drawing/2014/main" id="{800FDC1B-0B9C-4C20-A80D-DC43B0FD51C6}"/>
              </a:ext>
            </a:extLst>
          </p:cNvPr>
          <p:cNvPicPr>
            <a:picLocks noChangeAspect="1" noChangeArrowheads="1"/>
          </p:cNvPicPr>
          <p:nvPr userDrawn="1"/>
        </p:nvPicPr>
        <p:blipFill>
          <a:blip r:embed="rId2" cstate="email">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489" y="0"/>
            <a:ext cx="841789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B2FD31D6-857F-4AA6-8F21-E540A8982BFB}"/>
              </a:ext>
            </a:extLst>
          </p:cNvPr>
          <p:cNvPicPr>
            <a:picLocks noChangeAspect="1" noChangeArrowheads="1"/>
          </p:cNvPicPr>
          <p:nvPr userDrawn="1"/>
        </p:nvPicPr>
        <p:blipFill rotWithShape="1">
          <a:blip r:embed="rId3" cstate="screen">
            <a:extLst>
              <a:ext uri="{BEBA8EAE-BF5A-486C-A8C5-ECC9F3942E4B}">
                <a14:imgProps xmlns:a14="http://schemas.microsoft.com/office/drawing/2010/main">
                  <a14:imgLayer r:embed="rId4">
                    <a14:imgEffect>
                      <a14:backgroundRemoval t="9968" b="98928" l="29966" r="98485">
                        <a14:foregroundMark x1="58670" y1="21651" x2="60606" y2="30975"/>
                        <a14:foregroundMark x1="60606" y1="30975" x2="61195" y2="31940"/>
                        <a14:foregroundMark x1="62121" y1="32476" x2="67677" y2="50589"/>
                        <a14:foregroundMark x1="60859" y1="32797" x2="60774" y2="36549"/>
                        <a14:foregroundMark x1="59343" y1="34834" x2="59343" y2="34834"/>
                        <a14:foregroundMark x1="60185" y1="36013" x2="60185" y2="36013"/>
                        <a14:foregroundMark x1="70792" y1="86884" x2="70519" y2="87509"/>
                        <a14:foregroundMark x1="88300" y1="46838" x2="70840" y2="86774"/>
                        <a14:foregroundMark x1="71676" y1="88909" x2="75000" y2="88103"/>
                        <a14:foregroundMark x1="82660" y1="45766" x2="93182" y2="89496"/>
                        <a14:foregroundMark x1="96549" y1="48982" x2="92424" y2="84995"/>
                        <a14:foregroundMark x1="92424" y1="84995" x2="93687" y2="96677"/>
                        <a14:foregroundMark x1="93687" y1="96677" x2="95034" y2="98821"/>
                        <a14:foregroundMark x1="98401" y1="50375" x2="98485" y2="99035"/>
                        <a14:foregroundMark x1="71465" y1="10825" x2="81987" y2="60986"/>
                        <a14:foregroundMark x1="76936" y1="13076" x2="81734" y2="52840"/>
                        <a14:foregroundMark x1="83053" y1="32690" x2="83169" y2="33332"/>
                        <a14:foregroundMark x1="79798" y1="14684" x2="83053" y2="32690"/>
                        <a14:foregroundMark x1="67593" y1="11040" x2="76347" y2="60986"/>
                        <a14:foregroundMark x1="69192" y1="41050" x2="68098" y2="43087"/>
                        <a14:foregroundMark x1="39899" y1="85102" x2="29966" y2="87567"/>
                        <a14:backgroundMark x1="54293" y1="15541" x2="47391" y2="78778"/>
                        <a14:backgroundMark x1="54882" y1="26367" x2="59512" y2="71919"/>
                        <a14:backgroundMark x1="70034" y1="51661" x2="60774" y2="65380"/>
                        <a14:backgroundMark x1="83670" y1="40943" x2="83670" y2="40943"/>
                        <a14:backgroundMark x1="83586" y1="42122" x2="83586" y2="35906"/>
                        <a14:backgroundMark x1="83165" y1="33333" x2="85101" y2="43194"/>
                        <a14:backgroundMark x1="83249" y1="32690" x2="83249" y2="32690"/>
                        <a14:backgroundMark x1="83249" y1="33226" x2="83249" y2="33226"/>
                        <a14:backgroundMark x1="70455" y1="87460" x2="64057" y2="99250"/>
                        <a14:backgroundMark x1="57660" y1="93783" x2="56566" y2="94105"/>
                        <a14:backgroundMark x1="71633" y1="88639" x2="71633" y2="88639"/>
                        <a14:backgroundMark x1="71886" y1="89603" x2="71128" y2="87996"/>
                        <a14:backgroundMark x1="72054" y1="88853" x2="72054" y2="88853"/>
                        <a14:backgroundMark x1="71970" y1="89175" x2="71970" y2="89175"/>
                      </a14:backgroundRemoval>
                    </a14:imgEffect>
                  </a14:imgLayer>
                </a14:imgProps>
              </a:ext>
              <a:ext uri="{28A0092B-C50C-407E-A947-70E740481C1C}">
                <a14:useLocalDpi xmlns:a14="http://schemas.microsoft.com/office/drawing/2010/main"/>
              </a:ext>
            </a:extLst>
          </a:blip>
          <a:srcRect l="28235"/>
          <a:stretch/>
        </p:blipFill>
        <p:spPr bwMode="auto">
          <a:xfrm flipH="1">
            <a:off x="57" y="0"/>
            <a:ext cx="6041059"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Placeholder 1">
            <a:extLst>
              <a:ext uri="{FF2B5EF4-FFF2-40B4-BE49-F238E27FC236}">
                <a16:creationId xmlns:a16="http://schemas.microsoft.com/office/drawing/2014/main" id="{594A0EA2-3F94-4C73-8F02-08EA82AE9984}"/>
              </a:ext>
            </a:extLst>
          </p:cNvPr>
          <p:cNvSpPr>
            <a:spLocks noGrp="1"/>
          </p:cNvSpPr>
          <p:nvPr>
            <p:ph type="title"/>
          </p:nvPr>
        </p:nvSpPr>
        <p:spPr>
          <a:xfrm>
            <a:off x="5376965" y="5483182"/>
            <a:ext cx="6543563" cy="706438"/>
          </a:xfrm>
          <a:prstGeom prst="rect">
            <a:avLst/>
          </a:prstGeom>
        </p:spPr>
        <p:txBody>
          <a:bodyPr vert="horz" lIns="91440" tIns="45720" rIns="91440" bIns="45720" rtlCol="0" anchor="ctr">
            <a:normAutofit/>
          </a:bodyPr>
          <a:lstStyle>
            <a:lvl1pPr algn="r">
              <a:defRPr sz="36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sp>
        <p:nvSpPr>
          <p:cNvPr id="4" name="Text Placeholder 4">
            <a:extLst>
              <a:ext uri="{FF2B5EF4-FFF2-40B4-BE49-F238E27FC236}">
                <a16:creationId xmlns:a16="http://schemas.microsoft.com/office/drawing/2014/main" id="{54065182-3320-4996-BB7C-0F5CF54AD2D0}"/>
              </a:ext>
            </a:extLst>
          </p:cNvPr>
          <p:cNvSpPr>
            <a:spLocks noGrp="1"/>
          </p:cNvSpPr>
          <p:nvPr>
            <p:ph type="body" sz="quarter" idx="10" hasCustomPrompt="1"/>
          </p:nvPr>
        </p:nvSpPr>
        <p:spPr>
          <a:xfrm>
            <a:off x="5376965" y="6191077"/>
            <a:ext cx="6543563" cy="431780"/>
          </a:xfrm>
          <a:prstGeom prst="rect">
            <a:avLst/>
          </a:prstGeom>
        </p:spPr>
        <p:txBody>
          <a:bodyPr vert="horz" lIns="91440" tIns="45720" rIns="91440" bIns="45720" rtlCol="0" anchor="ctr">
            <a:normAutofit/>
          </a:bodyPr>
          <a:lstStyle>
            <a:lvl1pPr marL="0" indent="0" algn="r">
              <a:buNone/>
              <a:defRPr lang="en-US" sz="2800" b="1" i="1" baseline="0" dirty="0" smtClean="0">
                <a:solidFill>
                  <a:srgbClr val="00AEEF"/>
                </a:solidFill>
                <a:latin typeface="Delivery" panose="020F0503020204020204" pitchFamily="34" charset="0"/>
                <a:ea typeface="Delivery" panose="020F0503020204020204" pitchFamily="34" charset="0"/>
                <a:cs typeface="Delivery" panose="020F0503020204020204" pitchFamily="34" charset="0"/>
              </a:defRPr>
            </a:lvl1pPr>
            <a:lvl2pPr>
              <a:defRPr lang="en-US" sz="1800" dirty="0" smtClean="0"/>
            </a:lvl2pPr>
            <a:lvl3pPr>
              <a:defRPr lang="en-US" sz="1800" dirty="0" smtClean="0"/>
            </a:lvl3pPr>
            <a:lvl4pPr>
              <a:defRPr lang="en-US" dirty="0" smtClean="0"/>
            </a:lvl4pPr>
            <a:lvl5pPr>
              <a:defRPr lang="nl-NL" dirty="0"/>
            </a:lvl5pPr>
          </a:lstStyle>
          <a:p>
            <a:pPr marL="228600" lvl="0" indent="-457200">
              <a:spcBef>
                <a:spcPct val="0"/>
              </a:spcBef>
            </a:pPr>
            <a:r>
              <a:rPr lang="en-US"/>
              <a:t>Edit Sub title</a:t>
            </a:r>
          </a:p>
        </p:txBody>
      </p:sp>
      <p:sp>
        <p:nvSpPr>
          <p:cNvPr id="5" name="Date Placeholder 3">
            <a:extLst>
              <a:ext uri="{FF2B5EF4-FFF2-40B4-BE49-F238E27FC236}">
                <a16:creationId xmlns:a16="http://schemas.microsoft.com/office/drawing/2014/main" id="{BE39AFC3-8993-45A9-9B9A-68C76A597C16}"/>
              </a:ext>
            </a:extLst>
          </p:cNvPr>
          <p:cNvSpPr txBox="1">
            <a:spLocks/>
          </p:cNvSpPr>
          <p:nvPr userDrawn="1"/>
        </p:nvSpPr>
        <p:spPr>
          <a:xfrm>
            <a:off x="9129466" y="4991849"/>
            <a:ext cx="2781187" cy="365125"/>
          </a:xfrm>
          <a:prstGeom prst="rect">
            <a:avLst/>
          </a:prstGeom>
        </p:spPr>
        <p:txBody>
          <a:bodyPr vert="horz" lIns="91440" tIns="45720" rIns="91440" bIns="45720" rtlCol="0" anchor="ctr"/>
          <a:lstStyle>
            <a:defPPr>
              <a:defRPr lang="nl-NL"/>
            </a:defPPr>
            <a:lvl1pPr marL="0" algn="l" defTabSz="914400" rtl="0" eaLnBrk="1" latinLnBrk="0" hangingPunct="1">
              <a:defRPr sz="2400" kern="1200">
                <a:solidFill>
                  <a:schemeClr val="tx1"/>
                </a:solidFill>
                <a:latin typeface="Delivery" panose="020F0503020204020204" pitchFamily="34" charset="0"/>
                <a:ea typeface="Delivery" panose="020F0503020204020204" pitchFamily="34" charset="0"/>
                <a:cs typeface="Delivery" panose="020F05030202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3C10FB-C37C-4AEC-B516-83384F122C67}" type="datetime4">
              <a:rPr lang="en-US" sz="2000" b="1" smtClean="0">
                <a:solidFill>
                  <a:schemeClr val="accent4">
                    <a:lumMod val="75000"/>
                  </a:schemeClr>
                </a:solidFill>
              </a:rPr>
              <a:pPr algn="r"/>
              <a:t>August 21, 2023</a:t>
            </a:fld>
            <a:endParaRPr lang="nl-NL" sz="2000" b="1">
              <a:solidFill>
                <a:schemeClr val="accent4">
                  <a:lumMod val="75000"/>
                </a:schemeClr>
              </a:solidFill>
            </a:endParaRPr>
          </a:p>
        </p:txBody>
      </p:sp>
      <p:grpSp>
        <p:nvGrpSpPr>
          <p:cNvPr id="10" name="Group 9">
            <a:extLst>
              <a:ext uri="{FF2B5EF4-FFF2-40B4-BE49-F238E27FC236}">
                <a16:creationId xmlns:a16="http://schemas.microsoft.com/office/drawing/2014/main" id="{60824F2D-8428-405D-8215-08C1B17AB63A}"/>
              </a:ext>
            </a:extLst>
          </p:cNvPr>
          <p:cNvGrpSpPr/>
          <p:nvPr userDrawn="1"/>
        </p:nvGrpSpPr>
        <p:grpSpPr>
          <a:xfrm>
            <a:off x="6073832" y="268219"/>
            <a:ext cx="5836821" cy="5088756"/>
            <a:chOff x="5836362" y="68074"/>
            <a:chExt cx="6083274" cy="5355263"/>
          </a:xfrm>
        </p:grpSpPr>
        <p:sp>
          <p:nvSpPr>
            <p:cNvPr id="11" name="Oval 10">
              <a:extLst>
                <a:ext uri="{FF2B5EF4-FFF2-40B4-BE49-F238E27FC236}">
                  <a16:creationId xmlns:a16="http://schemas.microsoft.com/office/drawing/2014/main" id="{8ABBCC79-C6AC-4480-BB87-90CB6D678117}"/>
                </a:ext>
              </a:extLst>
            </p:cNvPr>
            <p:cNvSpPr>
              <a:spLocks noChangeAspect="1"/>
            </p:cNvSpPr>
            <p:nvPr userDrawn="1"/>
          </p:nvSpPr>
          <p:spPr>
            <a:xfrm>
              <a:off x="8456289" y="1522851"/>
              <a:ext cx="307649" cy="307649"/>
            </a:xfrm>
            <a:prstGeom prst="ellipse">
              <a:avLst/>
            </a:prstGeom>
            <a:solidFill>
              <a:srgbClr val="BF3B4B">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Circle: Hollow 11">
              <a:extLst>
                <a:ext uri="{FF2B5EF4-FFF2-40B4-BE49-F238E27FC236}">
                  <a16:creationId xmlns:a16="http://schemas.microsoft.com/office/drawing/2014/main" id="{B41E0E68-8E5F-4106-A3B8-D34E4D9781AC}"/>
                </a:ext>
              </a:extLst>
            </p:cNvPr>
            <p:cNvSpPr>
              <a:spLocks noChangeAspect="1"/>
            </p:cNvSpPr>
            <p:nvPr userDrawn="1"/>
          </p:nvSpPr>
          <p:spPr>
            <a:xfrm>
              <a:off x="5836362" y="2343356"/>
              <a:ext cx="1733214" cy="1733214"/>
            </a:xfrm>
            <a:prstGeom prst="donut">
              <a:avLst>
                <a:gd name="adj" fmla="val 5617"/>
              </a:avLst>
            </a:prstGeom>
            <a:solidFill>
              <a:srgbClr val="BF3B4B">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Circle: Hollow 12">
              <a:extLst>
                <a:ext uri="{FF2B5EF4-FFF2-40B4-BE49-F238E27FC236}">
                  <a16:creationId xmlns:a16="http://schemas.microsoft.com/office/drawing/2014/main" id="{791586FD-914C-44E4-A2AA-46C88865C453}"/>
                </a:ext>
              </a:extLst>
            </p:cNvPr>
            <p:cNvSpPr>
              <a:spLocks noChangeAspect="1"/>
            </p:cNvSpPr>
            <p:nvPr userDrawn="1"/>
          </p:nvSpPr>
          <p:spPr>
            <a:xfrm>
              <a:off x="5997214" y="2506279"/>
              <a:ext cx="1424348" cy="1424348"/>
            </a:xfrm>
            <a:prstGeom prst="donut">
              <a:avLst>
                <a:gd name="adj" fmla="val 15338"/>
              </a:avLst>
            </a:prstGeom>
            <a:solidFill>
              <a:srgbClr val="BF3B4B">
                <a:alpha val="4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4" name="Oval 13">
              <a:extLst>
                <a:ext uri="{FF2B5EF4-FFF2-40B4-BE49-F238E27FC236}">
                  <a16:creationId xmlns:a16="http://schemas.microsoft.com/office/drawing/2014/main" id="{2210AE92-A0DC-46D3-8C67-E6D8FE867590}"/>
                </a:ext>
              </a:extLst>
            </p:cNvPr>
            <p:cNvSpPr>
              <a:spLocks noChangeAspect="1"/>
            </p:cNvSpPr>
            <p:nvPr userDrawn="1"/>
          </p:nvSpPr>
          <p:spPr>
            <a:xfrm>
              <a:off x="7086100" y="3617941"/>
              <a:ext cx="1456332" cy="1456332"/>
            </a:xfrm>
            <a:prstGeom prst="ellipse">
              <a:avLst/>
            </a:prstGeom>
            <a:gradFill flip="none" rotWithShape="1">
              <a:gsLst>
                <a:gs pos="0">
                  <a:srgbClr val="00AEEF">
                    <a:alpha val="17000"/>
                  </a:srgbClr>
                </a:gs>
                <a:gs pos="65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4762F36F-C3B6-4FFD-AB79-4FE5E0C0E00C}"/>
                </a:ext>
              </a:extLst>
            </p:cNvPr>
            <p:cNvSpPr>
              <a:spLocks noChangeAspect="1"/>
            </p:cNvSpPr>
            <p:nvPr userDrawn="1"/>
          </p:nvSpPr>
          <p:spPr>
            <a:xfrm>
              <a:off x="6729797" y="3254398"/>
              <a:ext cx="2168939" cy="2168939"/>
            </a:xfrm>
            <a:prstGeom prst="donut">
              <a:avLst>
                <a:gd name="adj" fmla="val 5617"/>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6" name="Oval 15">
              <a:extLst>
                <a:ext uri="{FF2B5EF4-FFF2-40B4-BE49-F238E27FC236}">
                  <a16:creationId xmlns:a16="http://schemas.microsoft.com/office/drawing/2014/main" id="{2821BD98-A801-43A1-909D-93A59E01F9D1}"/>
                </a:ext>
              </a:extLst>
            </p:cNvPr>
            <p:cNvSpPr>
              <a:spLocks noChangeAspect="1"/>
            </p:cNvSpPr>
            <p:nvPr userDrawn="1"/>
          </p:nvSpPr>
          <p:spPr>
            <a:xfrm>
              <a:off x="7413110" y="812102"/>
              <a:ext cx="748874" cy="748874"/>
            </a:xfrm>
            <a:prstGeom prst="ellipse">
              <a:avLst/>
            </a:prstGeom>
            <a:solidFill>
              <a:srgbClr val="FFC000">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Circle: Hollow 16">
              <a:extLst>
                <a:ext uri="{FF2B5EF4-FFF2-40B4-BE49-F238E27FC236}">
                  <a16:creationId xmlns:a16="http://schemas.microsoft.com/office/drawing/2014/main" id="{20F74DE6-2D32-4089-9E95-1A0274C56E58}"/>
                </a:ext>
              </a:extLst>
            </p:cNvPr>
            <p:cNvSpPr>
              <a:spLocks noChangeAspect="1"/>
            </p:cNvSpPr>
            <p:nvPr userDrawn="1"/>
          </p:nvSpPr>
          <p:spPr>
            <a:xfrm>
              <a:off x="7304303" y="706421"/>
              <a:ext cx="958557" cy="958557"/>
            </a:xfrm>
            <a:prstGeom prst="donut">
              <a:avLst>
                <a:gd name="adj" fmla="val 561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8" name="Oval 17">
              <a:extLst>
                <a:ext uri="{FF2B5EF4-FFF2-40B4-BE49-F238E27FC236}">
                  <a16:creationId xmlns:a16="http://schemas.microsoft.com/office/drawing/2014/main" id="{27083ED0-00D2-4C05-87D1-7BC58EDCC1DB}"/>
                </a:ext>
              </a:extLst>
            </p:cNvPr>
            <p:cNvSpPr>
              <a:spLocks noChangeAspect="1"/>
            </p:cNvSpPr>
            <p:nvPr userDrawn="1"/>
          </p:nvSpPr>
          <p:spPr>
            <a:xfrm>
              <a:off x="6599012" y="1322806"/>
              <a:ext cx="203847" cy="203847"/>
            </a:xfrm>
            <a:prstGeom prst="ellipse">
              <a:avLst/>
            </a:prstGeom>
            <a:solidFill>
              <a:srgbClr val="D2EE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Circle: Hollow 18">
              <a:extLst>
                <a:ext uri="{FF2B5EF4-FFF2-40B4-BE49-F238E27FC236}">
                  <a16:creationId xmlns:a16="http://schemas.microsoft.com/office/drawing/2014/main" id="{AB2E404A-FFF3-4497-89F5-612EC2B490A4}"/>
                </a:ext>
              </a:extLst>
            </p:cNvPr>
            <p:cNvSpPr>
              <a:spLocks noChangeAspect="1"/>
            </p:cNvSpPr>
            <p:nvPr userDrawn="1"/>
          </p:nvSpPr>
          <p:spPr>
            <a:xfrm>
              <a:off x="7165522" y="1858447"/>
              <a:ext cx="1733214" cy="1733214"/>
            </a:xfrm>
            <a:prstGeom prst="donut">
              <a:avLst>
                <a:gd name="adj" fmla="val 3482"/>
              </a:avLst>
            </a:prstGeom>
            <a:solidFill>
              <a:schemeClr val="bg1">
                <a:lumMod val="6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0" name="Circle: Hollow 19">
              <a:extLst>
                <a:ext uri="{FF2B5EF4-FFF2-40B4-BE49-F238E27FC236}">
                  <a16:creationId xmlns:a16="http://schemas.microsoft.com/office/drawing/2014/main" id="{B99827D9-47B2-4138-A4EA-00A9352BECB9}"/>
                </a:ext>
              </a:extLst>
            </p:cNvPr>
            <p:cNvSpPr>
              <a:spLocks noChangeAspect="1"/>
            </p:cNvSpPr>
            <p:nvPr userDrawn="1"/>
          </p:nvSpPr>
          <p:spPr>
            <a:xfrm>
              <a:off x="8418917" y="1741180"/>
              <a:ext cx="1424348" cy="1424348"/>
            </a:xfrm>
            <a:prstGeom prst="donut">
              <a:avLst>
                <a:gd name="adj" fmla="val 9461"/>
              </a:avLst>
            </a:prstGeom>
            <a:solidFill>
              <a:schemeClr val="tx1">
                <a:lumMod val="50000"/>
                <a:lumOff val="5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1" name="Oval 20">
              <a:extLst>
                <a:ext uri="{FF2B5EF4-FFF2-40B4-BE49-F238E27FC236}">
                  <a16:creationId xmlns:a16="http://schemas.microsoft.com/office/drawing/2014/main" id="{98E38CA1-E480-45E1-9D6C-0C1F3107BBD3}"/>
                </a:ext>
              </a:extLst>
            </p:cNvPr>
            <p:cNvSpPr>
              <a:spLocks noChangeAspect="1"/>
            </p:cNvSpPr>
            <p:nvPr userDrawn="1"/>
          </p:nvSpPr>
          <p:spPr>
            <a:xfrm>
              <a:off x="10217691" y="2424274"/>
              <a:ext cx="300779" cy="300779"/>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Oval 21">
              <a:extLst>
                <a:ext uri="{FF2B5EF4-FFF2-40B4-BE49-F238E27FC236}">
                  <a16:creationId xmlns:a16="http://schemas.microsoft.com/office/drawing/2014/main" id="{809B80B1-9473-43E8-99AE-A412D0720E1A}"/>
                </a:ext>
              </a:extLst>
            </p:cNvPr>
            <p:cNvSpPr>
              <a:spLocks noChangeAspect="1"/>
            </p:cNvSpPr>
            <p:nvPr userDrawn="1"/>
          </p:nvSpPr>
          <p:spPr>
            <a:xfrm>
              <a:off x="8939107" y="2252134"/>
              <a:ext cx="402440" cy="402440"/>
            </a:xfrm>
            <a:prstGeom prst="ellipse">
              <a:avLst/>
            </a:prstGeom>
            <a:solidFill>
              <a:srgbClr val="FFC0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Oval 22">
              <a:extLst>
                <a:ext uri="{FF2B5EF4-FFF2-40B4-BE49-F238E27FC236}">
                  <a16:creationId xmlns:a16="http://schemas.microsoft.com/office/drawing/2014/main" id="{805C0931-295E-47BA-974D-1952FCFE606B}"/>
                </a:ext>
              </a:extLst>
            </p:cNvPr>
            <p:cNvSpPr>
              <a:spLocks noChangeAspect="1"/>
            </p:cNvSpPr>
            <p:nvPr userDrawn="1"/>
          </p:nvSpPr>
          <p:spPr>
            <a:xfrm>
              <a:off x="9644461" y="891447"/>
              <a:ext cx="431359" cy="431359"/>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4" name="Oval 23">
              <a:extLst>
                <a:ext uri="{FF2B5EF4-FFF2-40B4-BE49-F238E27FC236}">
                  <a16:creationId xmlns:a16="http://schemas.microsoft.com/office/drawing/2014/main" id="{A291048A-CD54-4995-BB38-3E419A99169E}"/>
                </a:ext>
              </a:extLst>
            </p:cNvPr>
            <p:cNvSpPr>
              <a:spLocks noChangeAspect="1"/>
            </p:cNvSpPr>
            <p:nvPr userDrawn="1"/>
          </p:nvSpPr>
          <p:spPr>
            <a:xfrm>
              <a:off x="10459825" y="1094859"/>
              <a:ext cx="1382551" cy="1382551"/>
            </a:xfrm>
            <a:prstGeom prst="ellipse">
              <a:avLst/>
            </a:prstGeom>
            <a:gradFill flip="none" rotWithShape="1">
              <a:gsLst>
                <a:gs pos="0">
                  <a:srgbClr val="00AEEF">
                    <a:alpha val="57000"/>
                  </a:srgbClr>
                </a:gs>
                <a:gs pos="73000">
                  <a:srgbClr val="A3C7E7">
                    <a:alpha val="82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25" name="Circle: Hollow 24">
              <a:extLst>
                <a:ext uri="{FF2B5EF4-FFF2-40B4-BE49-F238E27FC236}">
                  <a16:creationId xmlns:a16="http://schemas.microsoft.com/office/drawing/2014/main" id="{7330E8B5-D698-46AA-8F89-4A451AB9F121}"/>
                </a:ext>
              </a:extLst>
            </p:cNvPr>
            <p:cNvSpPr>
              <a:spLocks noChangeAspect="1"/>
            </p:cNvSpPr>
            <p:nvPr userDrawn="1"/>
          </p:nvSpPr>
          <p:spPr>
            <a:xfrm>
              <a:off x="8262860" y="1586747"/>
              <a:ext cx="1733214" cy="1733214"/>
            </a:xfrm>
            <a:prstGeom prst="donut">
              <a:avLst>
                <a:gd name="adj" fmla="val 5081"/>
              </a:avLst>
            </a:prstGeom>
            <a:solidFill>
              <a:schemeClr val="tx1">
                <a:lumMod val="50000"/>
                <a:lumOff val="50000"/>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6" name="Oval 25">
              <a:extLst>
                <a:ext uri="{FF2B5EF4-FFF2-40B4-BE49-F238E27FC236}">
                  <a16:creationId xmlns:a16="http://schemas.microsoft.com/office/drawing/2014/main" id="{41C65E20-2484-405B-B2EF-6DDEE485835F}"/>
                </a:ext>
              </a:extLst>
            </p:cNvPr>
            <p:cNvSpPr>
              <a:spLocks noChangeAspect="1"/>
            </p:cNvSpPr>
            <p:nvPr userDrawn="1"/>
          </p:nvSpPr>
          <p:spPr>
            <a:xfrm>
              <a:off x="7946353" y="2633363"/>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Oval 26">
              <a:extLst>
                <a:ext uri="{FF2B5EF4-FFF2-40B4-BE49-F238E27FC236}">
                  <a16:creationId xmlns:a16="http://schemas.microsoft.com/office/drawing/2014/main" id="{D66ABC50-FC3F-4081-BCB3-D4CE9399B930}"/>
                </a:ext>
              </a:extLst>
            </p:cNvPr>
            <p:cNvSpPr>
              <a:spLocks noChangeAspect="1"/>
            </p:cNvSpPr>
            <p:nvPr userDrawn="1"/>
          </p:nvSpPr>
          <p:spPr>
            <a:xfrm>
              <a:off x="8778151" y="977090"/>
              <a:ext cx="183381" cy="183381"/>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Oval 27">
              <a:extLst>
                <a:ext uri="{FF2B5EF4-FFF2-40B4-BE49-F238E27FC236}">
                  <a16:creationId xmlns:a16="http://schemas.microsoft.com/office/drawing/2014/main" id="{BE02AB79-6861-468F-BF83-E88CF5D0659E}"/>
                </a:ext>
              </a:extLst>
            </p:cNvPr>
            <p:cNvSpPr>
              <a:spLocks noChangeAspect="1"/>
            </p:cNvSpPr>
            <p:nvPr userDrawn="1"/>
          </p:nvSpPr>
          <p:spPr>
            <a:xfrm>
              <a:off x="11736255" y="817111"/>
              <a:ext cx="183381" cy="183381"/>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Oval 28">
              <a:extLst>
                <a:ext uri="{FF2B5EF4-FFF2-40B4-BE49-F238E27FC236}">
                  <a16:creationId xmlns:a16="http://schemas.microsoft.com/office/drawing/2014/main" id="{8ED416B2-525A-492D-8C53-92CD3DB24EF1}"/>
                </a:ext>
              </a:extLst>
            </p:cNvPr>
            <p:cNvSpPr>
              <a:spLocks noChangeAspect="1"/>
            </p:cNvSpPr>
            <p:nvPr userDrawn="1"/>
          </p:nvSpPr>
          <p:spPr>
            <a:xfrm>
              <a:off x="6281802" y="4514224"/>
              <a:ext cx="183381" cy="18338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Oval 29">
              <a:extLst>
                <a:ext uri="{FF2B5EF4-FFF2-40B4-BE49-F238E27FC236}">
                  <a16:creationId xmlns:a16="http://schemas.microsoft.com/office/drawing/2014/main" id="{6E0B07DB-B559-4ECA-81AA-8B87503DD52E}"/>
                </a:ext>
              </a:extLst>
            </p:cNvPr>
            <p:cNvSpPr>
              <a:spLocks noChangeAspect="1"/>
            </p:cNvSpPr>
            <p:nvPr userDrawn="1"/>
          </p:nvSpPr>
          <p:spPr>
            <a:xfrm>
              <a:off x="9007395" y="3983154"/>
              <a:ext cx="334152" cy="334152"/>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Oval 30">
              <a:extLst>
                <a:ext uri="{FF2B5EF4-FFF2-40B4-BE49-F238E27FC236}">
                  <a16:creationId xmlns:a16="http://schemas.microsoft.com/office/drawing/2014/main" id="{6E0C08DE-52C2-4728-BBC6-3838ABB204F7}"/>
                </a:ext>
              </a:extLst>
            </p:cNvPr>
            <p:cNvSpPr>
              <a:spLocks noChangeAspect="1"/>
            </p:cNvSpPr>
            <p:nvPr userDrawn="1"/>
          </p:nvSpPr>
          <p:spPr>
            <a:xfrm>
              <a:off x="6712505" y="5074273"/>
              <a:ext cx="90354" cy="9035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Oval 31">
              <a:extLst>
                <a:ext uri="{FF2B5EF4-FFF2-40B4-BE49-F238E27FC236}">
                  <a16:creationId xmlns:a16="http://schemas.microsoft.com/office/drawing/2014/main" id="{0AF44571-8068-4A9B-9800-D3FA19445128}"/>
                </a:ext>
              </a:extLst>
            </p:cNvPr>
            <p:cNvSpPr>
              <a:spLocks noChangeAspect="1"/>
            </p:cNvSpPr>
            <p:nvPr userDrawn="1"/>
          </p:nvSpPr>
          <p:spPr>
            <a:xfrm>
              <a:off x="10126000" y="3071016"/>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Oval 32">
              <a:extLst>
                <a:ext uri="{FF2B5EF4-FFF2-40B4-BE49-F238E27FC236}">
                  <a16:creationId xmlns:a16="http://schemas.microsoft.com/office/drawing/2014/main" id="{E47F39D1-461B-49BB-814A-47CE920A9FBC}"/>
                </a:ext>
              </a:extLst>
            </p:cNvPr>
            <p:cNvSpPr>
              <a:spLocks noChangeAspect="1"/>
            </p:cNvSpPr>
            <p:nvPr userDrawn="1"/>
          </p:nvSpPr>
          <p:spPr>
            <a:xfrm flipH="1">
              <a:off x="9639771" y="337742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Oval 33">
              <a:extLst>
                <a:ext uri="{FF2B5EF4-FFF2-40B4-BE49-F238E27FC236}">
                  <a16:creationId xmlns:a16="http://schemas.microsoft.com/office/drawing/2014/main" id="{690C7BBF-1207-4CB2-949F-1A356A3C9E2B}"/>
                </a:ext>
              </a:extLst>
            </p:cNvPr>
            <p:cNvSpPr>
              <a:spLocks noChangeAspect="1"/>
            </p:cNvSpPr>
            <p:nvPr userDrawn="1"/>
          </p:nvSpPr>
          <p:spPr>
            <a:xfrm>
              <a:off x="10002794" y="202415"/>
              <a:ext cx="183381" cy="183381"/>
            </a:xfrm>
            <a:prstGeom prst="ellipse">
              <a:avLst/>
            </a:prstGeom>
            <a:solidFill>
              <a:srgbClr val="BF3B4B">
                <a:alpha val="5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35" name="Oval 34">
              <a:extLst>
                <a:ext uri="{FF2B5EF4-FFF2-40B4-BE49-F238E27FC236}">
                  <a16:creationId xmlns:a16="http://schemas.microsoft.com/office/drawing/2014/main" id="{E123BB0D-FEF7-4E6D-AC6C-684E75537AD3}"/>
                </a:ext>
              </a:extLst>
            </p:cNvPr>
            <p:cNvSpPr>
              <a:spLocks noChangeAspect="1"/>
            </p:cNvSpPr>
            <p:nvPr userDrawn="1"/>
          </p:nvSpPr>
          <p:spPr>
            <a:xfrm>
              <a:off x="10433497" y="762464"/>
              <a:ext cx="90354" cy="90354"/>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Oval 35">
              <a:extLst>
                <a:ext uri="{FF2B5EF4-FFF2-40B4-BE49-F238E27FC236}">
                  <a16:creationId xmlns:a16="http://schemas.microsoft.com/office/drawing/2014/main" id="{B7A00F6D-E380-4583-9558-5C332205B4CA}"/>
                </a:ext>
              </a:extLst>
            </p:cNvPr>
            <p:cNvSpPr>
              <a:spLocks noChangeAspect="1"/>
            </p:cNvSpPr>
            <p:nvPr userDrawn="1"/>
          </p:nvSpPr>
          <p:spPr>
            <a:xfrm>
              <a:off x="8242869" y="564388"/>
              <a:ext cx="128893" cy="12889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Oval 36">
              <a:extLst>
                <a:ext uri="{FF2B5EF4-FFF2-40B4-BE49-F238E27FC236}">
                  <a16:creationId xmlns:a16="http://schemas.microsoft.com/office/drawing/2014/main" id="{5C7E47A0-93DE-4167-BE42-C6A4334BCF5F}"/>
                </a:ext>
              </a:extLst>
            </p:cNvPr>
            <p:cNvSpPr>
              <a:spLocks noChangeAspect="1"/>
            </p:cNvSpPr>
            <p:nvPr userDrawn="1"/>
          </p:nvSpPr>
          <p:spPr>
            <a:xfrm>
              <a:off x="5912620" y="2093549"/>
              <a:ext cx="93342" cy="9334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Oval 37">
              <a:extLst>
                <a:ext uri="{FF2B5EF4-FFF2-40B4-BE49-F238E27FC236}">
                  <a16:creationId xmlns:a16="http://schemas.microsoft.com/office/drawing/2014/main" id="{C322CAF8-822C-4A75-8C04-0585B97CC38E}"/>
                </a:ext>
              </a:extLst>
            </p:cNvPr>
            <p:cNvSpPr>
              <a:spLocks noChangeAspect="1"/>
            </p:cNvSpPr>
            <p:nvPr userDrawn="1"/>
          </p:nvSpPr>
          <p:spPr>
            <a:xfrm>
              <a:off x="6952820" y="1879241"/>
              <a:ext cx="216782" cy="216782"/>
            </a:xfrm>
            <a:prstGeom prst="ellipse">
              <a:avLst/>
            </a:prstGeom>
            <a:solidFill>
              <a:srgbClr val="7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Oval 38">
              <a:extLst>
                <a:ext uri="{FF2B5EF4-FFF2-40B4-BE49-F238E27FC236}">
                  <a16:creationId xmlns:a16="http://schemas.microsoft.com/office/drawing/2014/main" id="{CB83010F-5809-4AF8-BF7F-723F9BE1F6F0}"/>
                </a:ext>
              </a:extLst>
            </p:cNvPr>
            <p:cNvSpPr>
              <a:spLocks noChangeAspect="1"/>
            </p:cNvSpPr>
            <p:nvPr userDrawn="1"/>
          </p:nvSpPr>
          <p:spPr>
            <a:xfrm flipH="1">
              <a:off x="6435765" y="2894979"/>
              <a:ext cx="96878" cy="9687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Oval 39">
              <a:extLst>
                <a:ext uri="{FF2B5EF4-FFF2-40B4-BE49-F238E27FC236}">
                  <a16:creationId xmlns:a16="http://schemas.microsoft.com/office/drawing/2014/main" id="{304FECAA-3DDA-4BDD-8514-3F43D0707034}"/>
                </a:ext>
              </a:extLst>
            </p:cNvPr>
            <p:cNvSpPr>
              <a:spLocks noChangeAspect="1"/>
            </p:cNvSpPr>
            <p:nvPr userDrawn="1"/>
          </p:nvSpPr>
          <p:spPr>
            <a:xfrm>
              <a:off x="10554561" y="739240"/>
              <a:ext cx="355619" cy="355619"/>
            </a:xfrm>
            <a:prstGeom prst="ellipse">
              <a:avLst/>
            </a:prstGeom>
            <a:gradFill>
              <a:gsLst>
                <a:gs pos="18000">
                  <a:srgbClr val="FFC000">
                    <a:alpha val="28000"/>
                  </a:srgbClr>
                </a:gs>
                <a:gs pos="73000">
                  <a:srgbClr val="BF3B4B">
                    <a:alpha val="94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solidFill>
                  <a:schemeClr val="tx1"/>
                </a:solidFill>
              </a:endParaRPr>
            </a:p>
          </p:txBody>
        </p:sp>
        <p:sp>
          <p:nvSpPr>
            <p:cNvPr id="41" name="Oval 40">
              <a:extLst>
                <a:ext uri="{FF2B5EF4-FFF2-40B4-BE49-F238E27FC236}">
                  <a16:creationId xmlns:a16="http://schemas.microsoft.com/office/drawing/2014/main" id="{DFB26902-76D4-46DB-866A-D1D5E96B791B}"/>
                </a:ext>
              </a:extLst>
            </p:cNvPr>
            <p:cNvSpPr>
              <a:spLocks noChangeAspect="1"/>
            </p:cNvSpPr>
            <p:nvPr userDrawn="1"/>
          </p:nvSpPr>
          <p:spPr>
            <a:xfrm>
              <a:off x="9634584" y="305973"/>
              <a:ext cx="102066" cy="102066"/>
            </a:xfrm>
            <a:prstGeom prst="ellipse">
              <a:avLst/>
            </a:prstGeom>
            <a:solidFill>
              <a:srgbClr val="A3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Oval 41">
              <a:extLst>
                <a:ext uri="{FF2B5EF4-FFF2-40B4-BE49-F238E27FC236}">
                  <a16:creationId xmlns:a16="http://schemas.microsoft.com/office/drawing/2014/main" id="{2B882E03-6543-49B5-AFBF-9B1D337DD37A}"/>
                </a:ext>
              </a:extLst>
            </p:cNvPr>
            <p:cNvSpPr>
              <a:spLocks noChangeAspect="1"/>
            </p:cNvSpPr>
            <p:nvPr userDrawn="1"/>
          </p:nvSpPr>
          <p:spPr>
            <a:xfrm flipH="1">
              <a:off x="11424401" y="2477410"/>
              <a:ext cx="96878" cy="96878"/>
            </a:xfrm>
            <a:prstGeom prst="ellipse">
              <a:avLst/>
            </a:prstGeom>
            <a:solidFill>
              <a:srgbClr val="BF3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Oval 42">
              <a:extLst>
                <a:ext uri="{FF2B5EF4-FFF2-40B4-BE49-F238E27FC236}">
                  <a16:creationId xmlns:a16="http://schemas.microsoft.com/office/drawing/2014/main" id="{783DB505-EA97-41D8-8BA5-EA1C78A8CBFC}"/>
                </a:ext>
              </a:extLst>
            </p:cNvPr>
            <p:cNvSpPr>
              <a:spLocks noChangeAspect="1"/>
            </p:cNvSpPr>
            <p:nvPr userDrawn="1"/>
          </p:nvSpPr>
          <p:spPr>
            <a:xfrm>
              <a:off x="10312303" y="116404"/>
              <a:ext cx="64447" cy="64447"/>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Oval 43">
              <a:extLst>
                <a:ext uri="{FF2B5EF4-FFF2-40B4-BE49-F238E27FC236}">
                  <a16:creationId xmlns:a16="http://schemas.microsoft.com/office/drawing/2014/main" id="{9242A63C-0228-4B57-838B-7C54BD954957}"/>
                </a:ext>
              </a:extLst>
            </p:cNvPr>
            <p:cNvSpPr>
              <a:spLocks noChangeAspect="1"/>
            </p:cNvSpPr>
            <p:nvPr userDrawn="1"/>
          </p:nvSpPr>
          <p:spPr>
            <a:xfrm flipH="1">
              <a:off x="11645938" y="504290"/>
              <a:ext cx="96878" cy="96878"/>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Oval 44">
              <a:extLst>
                <a:ext uri="{FF2B5EF4-FFF2-40B4-BE49-F238E27FC236}">
                  <a16:creationId xmlns:a16="http://schemas.microsoft.com/office/drawing/2014/main" id="{BE27683A-392E-488D-B5AB-9B95B069EC2A}"/>
                </a:ext>
              </a:extLst>
            </p:cNvPr>
            <p:cNvSpPr>
              <a:spLocks noChangeAspect="1"/>
            </p:cNvSpPr>
            <p:nvPr userDrawn="1"/>
          </p:nvSpPr>
          <p:spPr>
            <a:xfrm flipH="1">
              <a:off x="8755043" y="1432793"/>
              <a:ext cx="96878" cy="9687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Oval 45">
              <a:extLst>
                <a:ext uri="{FF2B5EF4-FFF2-40B4-BE49-F238E27FC236}">
                  <a16:creationId xmlns:a16="http://schemas.microsoft.com/office/drawing/2014/main" id="{42502203-1B52-4DE3-A033-BC211C613C5F}"/>
                </a:ext>
              </a:extLst>
            </p:cNvPr>
            <p:cNvSpPr>
              <a:spLocks noChangeAspect="1"/>
            </p:cNvSpPr>
            <p:nvPr userDrawn="1"/>
          </p:nvSpPr>
          <p:spPr>
            <a:xfrm>
              <a:off x="8942205" y="4754960"/>
              <a:ext cx="187262" cy="1872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Oval 46">
              <a:extLst>
                <a:ext uri="{FF2B5EF4-FFF2-40B4-BE49-F238E27FC236}">
                  <a16:creationId xmlns:a16="http://schemas.microsoft.com/office/drawing/2014/main" id="{62679FD8-CC2D-4D06-B260-97A41142AD75}"/>
                </a:ext>
              </a:extLst>
            </p:cNvPr>
            <p:cNvSpPr>
              <a:spLocks noChangeAspect="1"/>
            </p:cNvSpPr>
            <p:nvPr userDrawn="1"/>
          </p:nvSpPr>
          <p:spPr>
            <a:xfrm flipH="1">
              <a:off x="8864654" y="3443803"/>
              <a:ext cx="96878" cy="96878"/>
            </a:xfrm>
            <a:prstGeom prst="ellipse">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Oval 47">
              <a:extLst>
                <a:ext uri="{FF2B5EF4-FFF2-40B4-BE49-F238E27FC236}">
                  <a16:creationId xmlns:a16="http://schemas.microsoft.com/office/drawing/2014/main" id="{F856AB69-34B7-4FE4-893C-2CFAC7558085}"/>
                </a:ext>
              </a:extLst>
            </p:cNvPr>
            <p:cNvSpPr>
              <a:spLocks noChangeAspect="1"/>
            </p:cNvSpPr>
            <p:nvPr userDrawn="1"/>
          </p:nvSpPr>
          <p:spPr>
            <a:xfrm>
              <a:off x="9907094" y="3994504"/>
              <a:ext cx="121395" cy="121395"/>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Oval 48">
              <a:extLst>
                <a:ext uri="{FF2B5EF4-FFF2-40B4-BE49-F238E27FC236}">
                  <a16:creationId xmlns:a16="http://schemas.microsoft.com/office/drawing/2014/main" id="{B835153C-900F-4E9B-AEF2-B6DD884CE5DD}"/>
                </a:ext>
              </a:extLst>
            </p:cNvPr>
            <p:cNvSpPr>
              <a:spLocks noChangeAspect="1"/>
            </p:cNvSpPr>
            <p:nvPr userDrawn="1"/>
          </p:nvSpPr>
          <p:spPr>
            <a:xfrm>
              <a:off x="10657178" y="2479759"/>
              <a:ext cx="92018" cy="92018"/>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Oval 49">
              <a:extLst>
                <a:ext uri="{FF2B5EF4-FFF2-40B4-BE49-F238E27FC236}">
                  <a16:creationId xmlns:a16="http://schemas.microsoft.com/office/drawing/2014/main" id="{544A3382-F47F-4D0E-BE46-438AFC178B58}"/>
                </a:ext>
              </a:extLst>
            </p:cNvPr>
            <p:cNvSpPr>
              <a:spLocks noChangeAspect="1"/>
            </p:cNvSpPr>
            <p:nvPr userDrawn="1"/>
          </p:nvSpPr>
          <p:spPr>
            <a:xfrm flipH="1" flipV="1">
              <a:off x="9524981" y="3693726"/>
              <a:ext cx="300778" cy="300778"/>
            </a:xfrm>
            <a:prstGeom prst="ellipse">
              <a:avLst/>
            </a:prstGeom>
            <a:solidFill>
              <a:schemeClr val="accent4">
                <a:lumMod val="7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Circle: Hollow 50">
              <a:extLst>
                <a:ext uri="{FF2B5EF4-FFF2-40B4-BE49-F238E27FC236}">
                  <a16:creationId xmlns:a16="http://schemas.microsoft.com/office/drawing/2014/main" id="{F8F852AA-9AD6-49F5-8594-5D893E040781}"/>
                </a:ext>
              </a:extLst>
            </p:cNvPr>
            <p:cNvSpPr>
              <a:spLocks noChangeAspect="1"/>
            </p:cNvSpPr>
            <p:nvPr userDrawn="1"/>
          </p:nvSpPr>
          <p:spPr>
            <a:xfrm>
              <a:off x="10186175" y="68074"/>
              <a:ext cx="1404538" cy="1404538"/>
            </a:xfrm>
            <a:prstGeom prst="donut">
              <a:avLst>
                <a:gd name="adj" fmla="val 5617"/>
              </a:avLst>
            </a:prstGeom>
            <a:gradFill>
              <a:gsLst>
                <a:gs pos="18000">
                  <a:srgbClr val="FFC000">
                    <a:alpha val="28000"/>
                  </a:srgbClr>
                </a:gs>
                <a:gs pos="53000">
                  <a:srgbClr val="BF3B4B">
                    <a:alpha val="59000"/>
                  </a:srgb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2" name="Circle: Hollow 51">
              <a:extLst>
                <a:ext uri="{FF2B5EF4-FFF2-40B4-BE49-F238E27FC236}">
                  <a16:creationId xmlns:a16="http://schemas.microsoft.com/office/drawing/2014/main" id="{9DE2F6B0-43DC-4732-A8E3-32B1AA472B6D}"/>
                </a:ext>
              </a:extLst>
            </p:cNvPr>
            <p:cNvSpPr>
              <a:spLocks noChangeAspect="1"/>
            </p:cNvSpPr>
            <p:nvPr userDrawn="1"/>
          </p:nvSpPr>
          <p:spPr>
            <a:xfrm>
              <a:off x="9343532" y="592911"/>
              <a:ext cx="1033218" cy="1033218"/>
            </a:xfrm>
            <a:prstGeom prst="donut">
              <a:avLst>
                <a:gd name="adj" fmla="val 14511"/>
              </a:avLst>
            </a:prstGeom>
            <a:gradFill flip="none" rotWithShape="1">
              <a:gsLst>
                <a:gs pos="0">
                  <a:srgbClr val="00AEEF"/>
                </a:gs>
                <a:gs pos="100000">
                  <a:srgbClr val="A3C7E7">
                    <a:alpha val="37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grpSp>
      <p:grpSp>
        <p:nvGrpSpPr>
          <p:cNvPr id="2" name="Group 1">
            <a:extLst>
              <a:ext uri="{FF2B5EF4-FFF2-40B4-BE49-F238E27FC236}">
                <a16:creationId xmlns:a16="http://schemas.microsoft.com/office/drawing/2014/main" id="{F7FB863C-B33D-3DD5-EFC0-73F4F77CCE0B}"/>
              </a:ext>
            </a:extLst>
          </p:cNvPr>
          <p:cNvGrpSpPr/>
          <p:nvPr userDrawn="1"/>
        </p:nvGrpSpPr>
        <p:grpSpPr>
          <a:xfrm>
            <a:off x="159315" y="144317"/>
            <a:ext cx="5267789" cy="638537"/>
            <a:chOff x="0" y="0"/>
            <a:chExt cx="3793402" cy="559435"/>
          </a:xfrm>
        </p:grpSpPr>
        <p:sp>
          <p:nvSpPr>
            <p:cNvPr id="6" name="Rectangle 5">
              <a:extLst>
                <a:ext uri="{FF2B5EF4-FFF2-40B4-BE49-F238E27FC236}">
                  <a16:creationId xmlns:a16="http://schemas.microsoft.com/office/drawing/2014/main" id="{150A1A1F-4D2D-85BA-7C70-4C5D9ACA1DE8}"/>
                </a:ext>
              </a:extLst>
            </p:cNvPr>
            <p:cNvSpPr/>
            <p:nvPr userDrawn="1"/>
          </p:nvSpPr>
          <p:spPr>
            <a:xfrm>
              <a:off x="0" y="0"/>
              <a:ext cx="3793402" cy="5594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a:p>
          </p:txBody>
        </p:sp>
        <p:pic>
          <p:nvPicPr>
            <p:cNvPr id="7" name="Picture 6">
              <a:extLst>
                <a:ext uri="{FF2B5EF4-FFF2-40B4-BE49-F238E27FC236}">
                  <a16:creationId xmlns:a16="http://schemas.microsoft.com/office/drawing/2014/main" id="{A1198B62-3954-F679-0739-18D33EFDC38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295868" y="50488"/>
              <a:ext cx="1207135" cy="465455"/>
            </a:xfrm>
            <a:prstGeom prst="rect">
              <a:avLst/>
            </a:prstGeom>
          </p:spPr>
        </p:pic>
        <p:pic>
          <p:nvPicPr>
            <p:cNvPr id="8" name="Picture 7">
              <a:extLst>
                <a:ext uri="{FF2B5EF4-FFF2-40B4-BE49-F238E27FC236}">
                  <a16:creationId xmlns:a16="http://schemas.microsoft.com/office/drawing/2014/main" id="{7A54C6CF-31F7-5730-D995-8ADDEB95FE45}"/>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2546857" y="50488"/>
              <a:ext cx="1205865" cy="464185"/>
            </a:xfrm>
            <a:prstGeom prst="rect">
              <a:avLst/>
            </a:prstGeom>
          </p:spPr>
        </p:pic>
        <p:pic>
          <p:nvPicPr>
            <p:cNvPr id="9" name="Picture 8">
              <a:extLst>
                <a:ext uri="{FF2B5EF4-FFF2-40B4-BE49-F238E27FC236}">
                  <a16:creationId xmlns:a16="http://schemas.microsoft.com/office/drawing/2014/main" id="{10E5619A-9433-45C0-F223-227AF5BDD15F}"/>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44879" y="50488"/>
              <a:ext cx="1205865" cy="464185"/>
            </a:xfrm>
            <a:prstGeom prst="rect">
              <a:avLst/>
            </a:prstGeom>
          </p:spPr>
        </p:pic>
      </p:grpSp>
    </p:spTree>
    <p:extLst>
      <p:ext uri="{BB962C8B-B14F-4D97-AF65-F5344CB8AC3E}">
        <p14:creationId xmlns:p14="http://schemas.microsoft.com/office/powerpoint/2010/main" val="25115309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PAGE IMAGE TOP WE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46">
            <a:extLst>
              <a:ext uri="{FF2B5EF4-FFF2-40B4-BE49-F238E27FC236}">
                <a16:creationId xmlns:a16="http://schemas.microsoft.com/office/drawing/2014/main" id="{CAB63D51-5793-46F1-8744-861B3FD9252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49887" y="-196893"/>
            <a:ext cx="3128359" cy="3128359"/>
          </a:xfrm>
          <a:prstGeom prst="ellipse">
            <a:avLst/>
          </a:prstGeom>
          <a:ln>
            <a:noFill/>
          </a:ln>
        </p:spPr>
      </p:pic>
      <p:sp>
        <p:nvSpPr>
          <p:cNvPr id="2" name="Text Placeholder 4">
            <a:extLst>
              <a:ext uri="{FF2B5EF4-FFF2-40B4-BE49-F238E27FC236}">
                <a16:creationId xmlns:a16="http://schemas.microsoft.com/office/drawing/2014/main" id="{A9157641-8FCB-B728-30A8-49C2DBB13C55}"/>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9EC29FB-CCBD-2380-D168-052A006C1285}"/>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2461499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PAGE IMAGE TOP WE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251">
            <a:extLst>
              <a:ext uri="{FF2B5EF4-FFF2-40B4-BE49-F238E27FC236}">
                <a16:creationId xmlns:a16="http://schemas.microsoft.com/office/drawing/2014/main" id="{7C336B2F-321B-456B-81E0-9A1CEE04B3D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0540" y="-186197"/>
            <a:ext cx="3128359" cy="3128359"/>
          </a:xfrm>
          <a:prstGeom prst="ellipse">
            <a:avLst/>
          </a:prstGeom>
          <a:ln>
            <a:noFill/>
          </a:ln>
        </p:spPr>
      </p:pic>
      <p:sp>
        <p:nvSpPr>
          <p:cNvPr id="2" name="Text Placeholder 4">
            <a:extLst>
              <a:ext uri="{FF2B5EF4-FFF2-40B4-BE49-F238E27FC236}">
                <a16:creationId xmlns:a16="http://schemas.microsoft.com/office/drawing/2014/main" id="{F2CB01D5-5CAC-A981-0A59-128A314160A0}"/>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14FD90A2-E897-057F-9761-63925CA1F2B1}"/>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26120862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PAGE IMAGE TOP OTHER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8D7979C5-F4D8-4423-B5AA-54DDDC575CB7}"/>
              </a:ext>
            </a:extLst>
          </p:cNvPr>
          <p:cNvSpPr>
            <a:spLocks noChangeAspect="1"/>
          </p:cNvSpPr>
          <p:nvPr userDrawn="1"/>
        </p:nvSpPr>
        <p:spPr>
          <a:xfrm>
            <a:off x="9058902" y="-435236"/>
            <a:ext cx="3653741" cy="3618510"/>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180414E0-8FF5-4F07-8B3E-D06B7F82F279}"/>
              </a:ext>
            </a:extLst>
          </p:cNvPr>
          <p:cNvSpPr>
            <a:spLocks noChangeAspect="1"/>
          </p:cNvSpPr>
          <p:nvPr userDrawn="1"/>
        </p:nvSpPr>
        <p:spPr>
          <a:xfrm>
            <a:off x="9159487" y="-345539"/>
            <a:ext cx="3464711" cy="3431302"/>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87" descr="A boat in the water with a city in the background&#10;&#10;Description automatically generated with medium confidence">
            <a:extLst>
              <a:ext uri="{FF2B5EF4-FFF2-40B4-BE49-F238E27FC236}">
                <a16:creationId xmlns:a16="http://schemas.microsoft.com/office/drawing/2014/main" id="{93D9F701-A45B-4056-9089-69A8A0B881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4292" y="-172071"/>
            <a:ext cx="3128359" cy="3128359"/>
          </a:xfrm>
          <a:prstGeom prst="ellipse">
            <a:avLst/>
          </a:prstGeom>
          <a:ln>
            <a:noFill/>
          </a:ln>
        </p:spPr>
      </p:pic>
      <p:sp>
        <p:nvSpPr>
          <p:cNvPr id="2" name="Text Placeholder 4">
            <a:extLst>
              <a:ext uri="{FF2B5EF4-FFF2-40B4-BE49-F238E27FC236}">
                <a16:creationId xmlns:a16="http://schemas.microsoft.com/office/drawing/2014/main" id="{5A38E71E-BC9B-C633-4455-8E38AE9A7D87}"/>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64F6EEAB-A3E4-1B7F-6155-F7375E6FEBE1}"/>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717189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PAGE IMAGE TOP OTHER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0" name="Circle: Hollow 9">
            <a:extLst>
              <a:ext uri="{FF2B5EF4-FFF2-40B4-BE49-F238E27FC236}">
                <a16:creationId xmlns:a16="http://schemas.microsoft.com/office/drawing/2014/main" id="{982B08F6-1496-4C53-9211-3F83785C98BD}"/>
              </a:ext>
            </a:extLst>
          </p:cNvPr>
          <p:cNvSpPr>
            <a:spLocks noChangeAspect="1"/>
          </p:cNvSpPr>
          <p:nvPr userDrawn="1"/>
        </p:nvSpPr>
        <p:spPr>
          <a:xfrm>
            <a:off x="9058902" y="-447575"/>
            <a:ext cx="3653741" cy="3618510"/>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1" name="Circle: Hollow 10">
            <a:extLst>
              <a:ext uri="{FF2B5EF4-FFF2-40B4-BE49-F238E27FC236}">
                <a16:creationId xmlns:a16="http://schemas.microsoft.com/office/drawing/2014/main" id="{C587F0F4-929E-4A62-878F-70D862B3C03E}"/>
              </a:ext>
            </a:extLst>
          </p:cNvPr>
          <p:cNvSpPr>
            <a:spLocks noChangeAspect="1"/>
          </p:cNvSpPr>
          <p:nvPr userDrawn="1"/>
        </p:nvSpPr>
        <p:spPr>
          <a:xfrm>
            <a:off x="9159487" y="-357878"/>
            <a:ext cx="3464711" cy="3431302"/>
          </a:xfrm>
          <a:prstGeom prst="donut">
            <a:avLst>
              <a:gd name="adj" fmla="val 2682"/>
            </a:avLst>
          </a:prstGeom>
          <a:solidFill>
            <a:srgbClr val="FFC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91">
            <a:extLst>
              <a:ext uri="{FF2B5EF4-FFF2-40B4-BE49-F238E27FC236}">
                <a16:creationId xmlns:a16="http://schemas.microsoft.com/office/drawing/2014/main" id="{AC988EF4-DC1B-47A5-9A3F-A94DF565659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334292" y="-206407"/>
            <a:ext cx="3128359" cy="3128359"/>
          </a:xfrm>
          <a:prstGeom prst="ellipse">
            <a:avLst/>
          </a:prstGeom>
          <a:ln>
            <a:noFill/>
          </a:ln>
        </p:spPr>
      </p:pic>
      <p:sp>
        <p:nvSpPr>
          <p:cNvPr id="2" name="Text Placeholder 4">
            <a:extLst>
              <a:ext uri="{FF2B5EF4-FFF2-40B4-BE49-F238E27FC236}">
                <a16:creationId xmlns:a16="http://schemas.microsoft.com/office/drawing/2014/main" id="{335D3E27-B89B-D97B-50D8-10FB957D86FE}"/>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8C1C75EF-DB82-ABC3-A1DC-5B39CDF24654}"/>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37341911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PAGE IMAGE TOP OTHER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23" name="Circle: Hollow 22">
            <a:extLst>
              <a:ext uri="{FF2B5EF4-FFF2-40B4-BE49-F238E27FC236}">
                <a16:creationId xmlns:a16="http://schemas.microsoft.com/office/drawing/2014/main" id="{C1E05237-1A71-40C4-BE96-A18B9B146F07}"/>
              </a:ext>
            </a:extLst>
          </p:cNvPr>
          <p:cNvSpPr>
            <a:spLocks noChangeAspect="1"/>
          </p:cNvSpPr>
          <p:nvPr userDrawn="1"/>
        </p:nvSpPr>
        <p:spPr>
          <a:xfrm>
            <a:off x="9068427" y="-434301"/>
            <a:ext cx="3653741" cy="3618510"/>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5" name="Circle: Hollow 24">
            <a:extLst>
              <a:ext uri="{FF2B5EF4-FFF2-40B4-BE49-F238E27FC236}">
                <a16:creationId xmlns:a16="http://schemas.microsoft.com/office/drawing/2014/main" id="{92F61767-004A-4E28-AC40-A5FB15F9DCE6}"/>
              </a:ext>
            </a:extLst>
          </p:cNvPr>
          <p:cNvSpPr>
            <a:spLocks noChangeAspect="1"/>
          </p:cNvSpPr>
          <p:nvPr userDrawn="1"/>
        </p:nvSpPr>
        <p:spPr>
          <a:xfrm>
            <a:off x="9169012" y="-340646"/>
            <a:ext cx="3464711" cy="3431302"/>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8" name="Picture Placeholder 96">
            <a:extLst>
              <a:ext uri="{FF2B5EF4-FFF2-40B4-BE49-F238E27FC236}">
                <a16:creationId xmlns:a16="http://schemas.microsoft.com/office/drawing/2014/main" id="{BE534D03-BC3E-41D3-86E8-FE5C239CFD9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337187" y="-186197"/>
            <a:ext cx="3128359" cy="3128359"/>
          </a:xfrm>
          <a:prstGeom prst="ellipse">
            <a:avLst/>
          </a:prstGeom>
          <a:ln>
            <a:noFill/>
          </a:ln>
        </p:spPr>
      </p:pic>
      <p:sp>
        <p:nvSpPr>
          <p:cNvPr id="2" name="Text Placeholder 4">
            <a:extLst>
              <a:ext uri="{FF2B5EF4-FFF2-40B4-BE49-F238E27FC236}">
                <a16:creationId xmlns:a16="http://schemas.microsoft.com/office/drawing/2014/main" id="{60A93605-5826-0331-3923-A09981D6B7FB}"/>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7157F4ED-D29A-D705-6CFE-6CDD6C72B30A}"/>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132884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PAGE IMAGE TOP_CHOOSE IMAGE">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9" name="Picture 8" descr="Shape, circle&#10;&#10;Description automatically generated">
            <a:extLst>
              <a:ext uri="{FF2B5EF4-FFF2-40B4-BE49-F238E27FC236}">
                <a16:creationId xmlns:a16="http://schemas.microsoft.com/office/drawing/2014/main" id="{F2BEFBCC-F318-41F7-A132-DB13578E16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6545304" y="1820918"/>
            <a:ext cx="5505467" cy="4799638"/>
          </a:xfrm>
          <a:prstGeom prst="rect">
            <a:avLst/>
          </a:prstGeom>
        </p:spPr>
      </p:pic>
      <p:sp>
        <p:nvSpPr>
          <p:cNvPr id="11" name="Circle: Hollow 10">
            <a:extLst>
              <a:ext uri="{FF2B5EF4-FFF2-40B4-BE49-F238E27FC236}">
                <a16:creationId xmlns:a16="http://schemas.microsoft.com/office/drawing/2014/main" id="{9C70BD3E-C9D9-4F81-94C9-3BE89B4CED01}"/>
              </a:ext>
            </a:extLst>
          </p:cNvPr>
          <p:cNvSpPr>
            <a:spLocks noChangeAspect="1"/>
          </p:cNvSpPr>
          <p:nvPr userDrawn="1"/>
        </p:nvSpPr>
        <p:spPr>
          <a:xfrm>
            <a:off x="9081128" y="-488511"/>
            <a:ext cx="3653741" cy="3618510"/>
          </a:xfrm>
          <a:prstGeom prst="donut">
            <a:avLst>
              <a:gd name="adj" fmla="val 1425"/>
            </a:avLst>
          </a:prstGeom>
          <a:solidFill>
            <a:schemeClr val="tx1">
              <a:lumMod val="50000"/>
              <a:lumOff val="50000"/>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2" name="Circle: Hollow 11">
            <a:extLst>
              <a:ext uri="{FF2B5EF4-FFF2-40B4-BE49-F238E27FC236}">
                <a16:creationId xmlns:a16="http://schemas.microsoft.com/office/drawing/2014/main" id="{AA6FAA8F-A86A-411A-9FC3-EFBDD1332726}"/>
              </a:ext>
            </a:extLst>
          </p:cNvPr>
          <p:cNvSpPr>
            <a:spLocks noChangeAspect="1"/>
          </p:cNvSpPr>
          <p:nvPr userDrawn="1"/>
        </p:nvSpPr>
        <p:spPr>
          <a:xfrm>
            <a:off x="9181713" y="-398814"/>
            <a:ext cx="3464711" cy="3431302"/>
          </a:xfrm>
          <a:prstGeom prst="donut">
            <a:avLst>
              <a:gd name="adj" fmla="val 2682"/>
            </a:avLst>
          </a:prstGeom>
          <a:gradFill flip="none" rotWithShape="1">
            <a:gsLst>
              <a:gs pos="0">
                <a:schemeClr val="tx1">
                  <a:lumMod val="50000"/>
                  <a:lumOff val="50000"/>
                </a:schemeClr>
              </a:gs>
              <a:gs pos="63000">
                <a:schemeClr val="tx1">
                  <a:lumMod val="50000"/>
                  <a:lumOff val="50000"/>
                  <a:alpha val="3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0" name="Picture Placeholder 2">
            <a:extLst>
              <a:ext uri="{FF2B5EF4-FFF2-40B4-BE49-F238E27FC236}">
                <a16:creationId xmlns:a16="http://schemas.microsoft.com/office/drawing/2014/main" id="{69CCF839-CB7A-451F-9F2C-6D310B5F0286}"/>
              </a:ext>
            </a:extLst>
          </p:cNvPr>
          <p:cNvSpPr>
            <a:spLocks noGrp="1" noChangeAspect="1"/>
          </p:cNvSpPr>
          <p:nvPr>
            <p:ph type="pic" sz="quarter" idx="10"/>
          </p:nvPr>
        </p:nvSpPr>
        <p:spPr>
          <a:xfrm>
            <a:off x="9328725" y="-250939"/>
            <a:ext cx="3128359" cy="3128359"/>
          </a:xfrm>
          <a:prstGeom prst="ellipse">
            <a:avLst/>
          </a:prstGeom>
          <a:ln>
            <a:noFill/>
          </a:ln>
        </p:spPr>
        <p:txBody>
          <a:bodyPr/>
          <a:lstStyle/>
          <a:p>
            <a:endParaRPr lang="nl-NL"/>
          </a:p>
        </p:txBody>
      </p:sp>
      <p:sp>
        <p:nvSpPr>
          <p:cNvPr id="2" name="Text Placeholder 4">
            <a:extLst>
              <a:ext uri="{FF2B5EF4-FFF2-40B4-BE49-F238E27FC236}">
                <a16:creationId xmlns:a16="http://schemas.microsoft.com/office/drawing/2014/main" id="{969DCE78-5DAC-A743-A96F-73DBC5D08109}"/>
              </a:ext>
            </a:extLst>
          </p:cNvPr>
          <p:cNvSpPr>
            <a:spLocks noGrp="1"/>
          </p:cNvSpPr>
          <p:nvPr>
            <p:ph type="body" sz="quarter" idx="11"/>
          </p:nvPr>
        </p:nvSpPr>
        <p:spPr>
          <a:xfrm>
            <a:off x="205987" y="1349195"/>
            <a:ext cx="7423538" cy="5118280"/>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48DA8D9-EA9D-6E28-F7B1-167DD478E248}"/>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21411435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PAGE IMAGE TOP AF 1">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9" name="Picture Placeholder 53">
            <a:extLst>
              <a:ext uri="{FF2B5EF4-FFF2-40B4-BE49-F238E27FC236}">
                <a16:creationId xmlns:a16="http://schemas.microsoft.com/office/drawing/2014/main" id="{9B2EF9C4-E552-4E71-AE20-8B63C44450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774"/>
          <a:stretch/>
        </p:blipFill>
        <p:spPr>
          <a:xfrm>
            <a:off x="9452200" y="-185519"/>
            <a:ext cx="2881395" cy="2881395"/>
          </a:xfrm>
          <a:prstGeom prst="ellipse">
            <a:avLst/>
          </a:prstGeom>
          <a:ln>
            <a:noFill/>
          </a:ln>
        </p:spPr>
      </p:pic>
      <p:sp>
        <p:nvSpPr>
          <p:cNvPr id="2" name="Text Placeholder 4">
            <a:extLst>
              <a:ext uri="{FF2B5EF4-FFF2-40B4-BE49-F238E27FC236}">
                <a16:creationId xmlns:a16="http://schemas.microsoft.com/office/drawing/2014/main" id="{AE23CB62-78C7-75B1-B358-377FD7859B13}"/>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Tree>
    <p:extLst>
      <p:ext uri="{BB962C8B-B14F-4D97-AF65-F5344CB8AC3E}">
        <p14:creationId xmlns:p14="http://schemas.microsoft.com/office/powerpoint/2010/main" val="39695357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PAGE IMAGE TOP AF 2">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Circle: Hollow 20">
            <a:extLst>
              <a:ext uri="{FF2B5EF4-FFF2-40B4-BE49-F238E27FC236}">
                <a16:creationId xmlns:a16="http://schemas.microsoft.com/office/drawing/2014/main" id="{E66E0CA9-813C-4A38-A442-D54CF42E456D}"/>
              </a:ext>
            </a:extLst>
          </p:cNvPr>
          <p:cNvSpPr>
            <a:spLocks noChangeAspect="1"/>
          </p:cNvSpPr>
          <p:nvPr userDrawn="1"/>
        </p:nvSpPr>
        <p:spPr>
          <a:xfrm>
            <a:off x="9156043" y="-430893"/>
            <a:ext cx="3439395" cy="3406231"/>
          </a:xfrm>
          <a:prstGeom prst="donut">
            <a:avLst>
              <a:gd name="adj" fmla="val 1425"/>
            </a:avLst>
          </a:prstGeom>
          <a:solidFill>
            <a:srgbClr val="FFC000">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22" name="Circle: Hollow 21">
            <a:extLst>
              <a:ext uri="{FF2B5EF4-FFF2-40B4-BE49-F238E27FC236}">
                <a16:creationId xmlns:a16="http://schemas.microsoft.com/office/drawing/2014/main" id="{EE4F08F6-241A-48C3-95FB-BCE74183AF22}"/>
              </a:ext>
            </a:extLst>
          </p:cNvPr>
          <p:cNvSpPr>
            <a:spLocks noChangeAspect="1"/>
          </p:cNvSpPr>
          <p:nvPr userDrawn="1"/>
        </p:nvSpPr>
        <p:spPr>
          <a:xfrm>
            <a:off x="9256323" y="-342876"/>
            <a:ext cx="3236996" cy="3205782"/>
          </a:xfrm>
          <a:prstGeom prst="donut">
            <a:avLst>
              <a:gd name="adj" fmla="val 26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7" name="Picture Placeholder 43">
            <a:extLst>
              <a:ext uri="{FF2B5EF4-FFF2-40B4-BE49-F238E27FC236}">
                <a16:creationId xmlns:a16="http://schemas.microsoft.com/office/drawing/2014/main" id="{77C9E4C0-91E8-49BA-94FD-77F0192FB09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34123" y="-193655"/>
            <a:ext cx="2881395" cy="2881395"/>
          </a:xfrm>
          <a:prstGeom prst="ellipse">
            <a:avLst/>
          </a:prstGeom>
          <a:ln>
            <a:noFill/>
          </a:ln>
        </p:spPr>
      </p:pic>
      <p:sp>
        <p:nvSpPr>
          <p:cNvPr id="2" name="Text Placeholder 4">
            <a:extLst>
              <a:ext uri="{FF2B5EF4-FFF2-40B4-BE49-F238E27FC236}">
                <a16:creationId xmlns:a16="http://schemas.microsoft.com/office/drawing/2014/main" id="{472C0CB2-1F16-049A-31FD-677973F54E03}"/>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E97C8104-C33A-CDC4-B18B-EF5A1E040675}"/>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42652946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PAGE IMAGE TOP AF 3">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018989EB-1D25-438A-979E-CDBA9AE68EB3}"/>
              </a:ext>
            </a:extLst>
          </p:cNvPr>
          <p:cNvSpPr>
            <a:spLocks noChangeAspect="1"/>
          </p:cNvSpPr>
          <p:nvPr userDrawn="1"/>
        </p:nvSpPr>
        <p:spPr>
          <a:xfrm>
            <a:off x="9166646" y="-431513"/>
            <a:ext cx="3439395" cy="3406231"/>
          </a:xfrm>
          <a:prstGeom prst="donut">
            <a:avLst>
              <a:gd name="adj" fmla="val 1425"/>
            </a:avLst>
          </a:prstGeom>
          <a:solidFill>
            <a:srgbClr val="00AEEF">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10CD1C5A-B87E-486B-984D-342A4A3D391A}"/>
              </a:ext>
            </a:extLst>
          </p:cNvPr>
          <p:cNvSpPr>
            <a:spLocks noChangeAspect="1"/>
          </p:cNvSpPr>
          <p:nvPr userDrawn="1"/>
        </p:nvSpPr>
        <p:spPr>
          <a:xfrm>
            <a:off x="9250981" y="-332745"/>
            <a:ext cx="3261454" cy="3230005"/>
          </a:xfrm>
          <a:prstGeom prst="donut">
            <a:avLst>
              <a:gd name="adj" fmla="val 2682"/>
            </a:avLst>
          </a:prstGeom>
          <a:gradFill flip="none" rotWithShape="1">
            <a:gsLst>
              <a:gs pos="0">
                <a:srgbClr val="00AEEF">
                  <a:alpha val="18000"/>
                </a:srgbClr>
              </a:gs>
              <a:gs pos="63000">
                <a:srgbClr val="A3C7E7"/>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24" name="Picture Placeholder 48">
            <a:extLst>
              <a:ext uri="{FF2B5EF4-FFF2-40B4-BE49-F238E27FC236}">
                <a16:creationId xmlns:a16="http://schemas.microsoft.com/office/drawing/2014/main" id="{E9D9A240-BDA6-4525-B95E-41E70455BE2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27419" y="-154537"/>
            <a:ext cx="2881395" cy="2881395"/>
          </a:xfrm>
          <a:prstGeom prst="ellipse">
            <a:avLst/>
          </a:prstGeom>
          <a:ln>
            <a:noFill/>
          </a:ln>
        </p:spPr>
      </p:pic>
      <p:sp>
        <p:nvSpPr>
          <p:cNvPr id="2" name="Text Placeholder 4">
            <a:extLst>
              <a:ext uri="{FF2B5EF4-FFF2-40B4-BE49-F238E27FC236}">
                <a16:creationId xmlns:a16="http://schemas.microsoft.com/office/drawing/2014/main" id="{3D59AC4E-3806-7127-653E-D836E1E4166F}"/>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Tree>
    <p:extLst>
      <p:ext uri="{BB962C8B-B14F-4D97-AF65-F5344CB8AC3E}">
        <p14:creationId xmlns:p14="http://schemas.microsoft.com/office/powerpoint/2010/main" val="12076931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PAGE IMAGE TOP AF 4">
    <p:bg>
      <p:bgPr>
        <a:solidFill>
          <a:schemeClr val="bg1">
            <a:lumMod val="85000"/>
          </a:schemeClr>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4039F63-AFA6-40A9-8E0A-C624F9480975}"/>
              </a:ext>
            </a:extLst>
          </p:cNvPr>
          <p:cNvSpPr/>
          <p:nvPr userDrawn="1"/>
        </p:nvSpPr>
        <p:spPr>
          <a:xfrm rot="10800000">
            <a:off x="0" y="2706790"/>
            <a:ext cx="12192000" cy="4151209"/>
          </a:xfrm>
          <a:prstGeom prst="rect">
            <a:avLst/>
          </a:prstGeom>
          <a:gradFill flip="none" rotWithShape="1">
            <a:gsLst>
              <a:gs pos="0">
                <a:schemeClr val="bg1">
                  <a:alpha val="0"/>
                </a:schemeClr>
              </a:gs>
              <a:gs pos="100000">
                <a:srgbClr val="D4E5F4"/>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p:cNvSpPr/>
          <p:nvPr userDrawn="1"/>
        </p:nvSpPr>
        <p:spPr>
          <a:xfrm>
            <a:off x="0" y="-23018"/>
            <a:ext cx="12192000" cy="2979306"/>
          </a:xfrm>
          <a:prstGeom prst="rect">
            <a:avLst/>
          </a:prstGeom>
          <a:gradFill flip="none" rotWithShape="1">
            <a:gsLst>
              <a:gs pos="0">
                <a:schemeClr val="bg1">
                  <a:alpha val="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tle Placeholder 1"/>
          <p:cNvSpPr>
            <a:spLocks noGrp="1"/>
          </p:cNvSpPr>
          <p:nvPr>
            <p:ph type="title"/>
          </p:nvPr>
        </p:nvSpPr>
        <p:spPr>
          <a:xfrm>
            <a:off x="163534" y="62654"/>
            <a:ext cx="6543563" cy="706438"/>
          </a:xfrm>
          <a:prstGeom prst="rect">
            <a:avLst/>
          </a:prstGeom>
        </p:spPr>
        <p:txBody>
          <a:bodyPr vert="horz" lIns="91440" tIns="45720" rIns="91440" bIns="45720" rtlCol="0" anchor="ctr">
            <a:normAutofit/>
          </a:bodyPr>
          <a:lstStyle>
            <a:lvl1pPr algn="l">
              <a:defRPr sz="2800" b="1">
                <a:solidFill>
                  <a:srgbClr val="00AEEF"/>
                </a:solidFill>
                <a:latin typeface="Delivery" panose="020F0503020204020204" pitchFamily="34" charset="0"/>
                <a:ea typeface="Delivery" panose="020F0503020204020204" pitchFamily="34" charset="0"/>
                <a:cs typeface="Delivery" panose="020F0503020204020204" pitchFamily="34" charset="0"/>
              </a:defRPr>
            </a:lvl1pPr>
          </a:lstStyle>
          <a:p>
            <a:r>
              <a:rPr lang="en-US"/>
              <a:t>Click to edit Master title style</a:t>
            </a:r>
            <a:endParaRPr lang="nl-NL"/>
          </a:p>
        </p:txBody>
      </p:sp>
      <p:pic>
        <p:nvPicPr>
          <p:cNvPr id="20" name="Picture 19" descr="Shape, circle&#10;&#10;Description automatically generated">
            <a:extLst>
              <a:ext uri="{FF2B5EF4-FFF2-40B4-BE49-F238E27FC236}">
                <a16:creationId xmlns:a16="http://schemas.microsoft.com/office/drawing/2014/main" id="{F5504CB7-83C7-4D75-BE4A-96C3C4E322C9}"/>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rot="16200000">
            <a:off x="186319" y="1543421"/>
            <a:ext cx="5235100" cy="4563933"/>
          </a:xfrm>
          <a:prstGeom prst="rect">
            <a:avLst/>
          </a:prstGeom>
          <a:effectLst>
            <a:outerShdw blurRad="50800" dist="38100" dir="8100000" algn="tr" rotWithShape="0">
              <a:prstClr val="black">
                <a:alpha val="40000"/>
              </a:prstClr>
            </a:outerShdw>
          </a:effectLst>
        </p:spPr>
      </p:pic>
      <p:sp>
        <p:nvSpPr>
          <p:cNvPr id="8" name="Rectangle: Rounded Corners 7">
            <a:extLst>
              <a:ext uri="{FF2B5EF4-FFF2-40B4-BE49-F238E27FC236}">
                <a16:creationId xmlns:a16="http://schemas.microsoft.com/office/drawing/2014/main" id="{DDE1D2DA-051A-4FD8-86D4-2DC965528B3B}"/>
              </a:ext>
            </a:extLst>
          </p:cNvPr>
          <p:cNvSpPr/>
          <p:nvPr userDrawn="1"/>
        </p:nvSpPr>
        <p:spPr>
          <a:xfrm>
            <a:off x="2569028"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2079F29C-DF39-486D-BE94-BBDD98B0A1DB}"/>
              </a:ext>
            </a:extLst>
          </p:cNvPr>
          <p:cNvSpPr/>
          <p:nvPr userDrawn="1"/>
        </p:nvSpPr>
        <p:spPr>
          <a:xfrm rot="16200000">
            <a:off x="1970998" y="5249097"/>
            <a:ext cx="1494204" cy="560800"/>
          </a:xfrm>
          <a:prstGeom prst="roundRect">
            <a:avLst>
              <a:gd name="adj" fmla="val 6988"/>
            </a:avLst>
          </a:prstGeom>
          <a:gradFill flip="none" rotWithShape="1">
            <a:gsLst>
              <a:gs pos="59000">
                <a:srgbClr val="FFC000"/>
              </a:gs>
              <a:gs pos="100000">
                <a:schemeClr val="accent4">
                  <a:lumMod val="50000"/>
                </a:schemeClr>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extLst>
              <a:ext uri="{FF2B5EF4-FFF2-40B4-BE49-F238E27FC236}">
                <a16:creationId xmlns:a16="http://schemas.microsoft.com/office/drawing/2014/main" id="{BFCF6CD8-E4EB-4DC2-B45A-FA062FE56758}"/>
              </a:ext>
            </a:extLst>
          </p:cNvPr>
          <p:cNvSpPr/>
          <p:nvPr userDrawn="1"/>
        </p:nvSpPr>
        <p:spPr>
          <a:xfrm>
            <a:off x="2674787"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tangle: Rounded Corners 11">
            <a:extLst>
              <a:ext uri="{FF2B5EF4-FFF2-40B4-BE49-F238E27FC236}">
                <a16:creationId xmlns:a16="http://schemas.microsoft.com/office/drawing/2014/main" id="{E0DDC599-CB72-4D6E-AE33-3438AAF20363}"/>
              </a:ext>
            </a:extLst>
          </p:cNvPr>
          <p:cNvSpPr/>
          <p:nvPr userDrawn="1"/>
        </p:nvSpPr>
        <p:spPr>
          <a:xfrm rot="16200000">
            <a:off x="1970998" y="3525481"/>
            <a:ext cx="1494204" cy="560800"/>
          </a:xfrm>
          <a:prstGeom prst="roundRect">
            <a:avLst>
              <a:gd name="adj" fmla="val 6988"/>
            </a:avLst>
          </a:prstGeom>
          <a:gradFill flip="none" rotWithShape="1">
            <a:gsLst>
              <a:gs pos="59000">
                <a:srgbClr val="D2EEFC"/>
              </a:gs>
              <a:gs pos="100000">
                <a:srgbClr val="7395D3"/>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extLst>
              <a:ext uri="{FF2B5EF4-FFF2-40B4-BE49-F238E27FC236}">
                <a16:creationId xmlns:a16="http://schemas.microsoft.com/office/drawing/2014/main" id="{3F6453DA-CB9D-47B7-BE30-1C1632E45AB3}"/>
              </a:ext>
            </a:extLst>
          </p:cNvPr>
          <p:cNvSpPr/>
          <p:nvPr userDrawn="1"/>
        </p:nvSpPr>
        <p:spPr>
          <a:xfrm>
            <a:off x="2771995" y="1146332"/>
            <a:ext cx="8995311" cy="5350807"/>
          </a:xfrm>
          <a:prstGeom prst="roundRect">
            <a:avLst>
              <a:gd name="adj" fmla="val 1415"/>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Rectangle: Rounded Corners 5">
            <a:extLst>
              <a:ext uri="{FF2B5EF4-FFF2-40B4-BE49-F238E27FC236}">
                <a16:creationId xmlns:a16="http://schemas.microsoft.com/office/drawing/2014/main" id="{172C3D5D-AD57-4B3C-AAB1-86F9F763C7BA}"/>
              </a:ext>
            </a:extLst>
          </p:cNvPr>
          <p:cNvSpPr/>
          <p:nvPr userDrawn="1"/>
        </p:nvSpPr>
        <p:spPr>
          <a:xfrm rot="16200000">
            <a:off x="1970997" y="1814138"/>
            <a:ext cx="1494204" cy="560800"/>
          </a:xfrm>
          <a:prstGeom prst="roundRect">
            <a:avLst>
              <a:gd name="adj" fmla="val 6988"/>
            </a:avLst>
          </a:prstGeom>
          <a:gradFill flip="none" rotWithShape="1">
            <a:gsLst>
              <a:gs pos="58000">
                <a:srgbClr val="BF3B4B"/>
              </a:gs>
              <a:gs pos="100000">
                <a:srgbClr val="8A0000"/>
              </a:gs>
            </a:gsLst>
            <a:lin ang="5400000" scaled="1"/>
            <a:tileRect/>
          </a:gradFill>
          <a:ln>
            <a:noFill/>
          </a:ln>
          <a:effectLst>
            <a:glow rad="63500">
              <a:schemeClr val="tx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Circle: Hollow 14">
            <a:extLst>
              <a:ext uri="{FF2B5EF4-FFF2-40B4-BE49-F238E27FC236}">
                <a16:creationId xmlns:a16="http://schemas.microsoft.com/office/drawing/2014/main" id="{9C703041-1AB1-45D0-AA35-53CC3119569C}"/>
              </a:ext>
            </a:extLst>
          </p:cNvPr>
          <p:cNvSpPr>
            <a:spLocks noChangeAspect="1"/>
          </p:cNvSpPr>
          <p:nvPr userDrawn="1"/>
        </p:nvSpPr>
        <p:spPr>
          <a:xfrm>
            <a:off x="9171648" y="-447936"/>
            <a:ext cx="3439395" cy="3406231"/>
          </a:xfrm>
          <a:prstGeom prst="donut">
            <a:avLst>
              <a:gd name="adj" fmla="val 1425"/>
            </a:avLst>
          </a:prstGeom>
          <a:solidFill>
            <a:srgbClr val="BF3B4B">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7" name="Circle: Hollow 16">
            <a:extLst>
              <a:ext uri="{FF2B5EF4-FFF2-40B4-BE49-F238E27FC236}">
                <a16:creationId xmlns:a16="http://schemas.microsoft.com/office/drawing/2014/main" id="{3E461534-585E-485E-A9E5-2CEE8606411E}"/>
              </a:ext>
            </a:extLst>
          </p:cNvPr>
          <p:cNvSpPr>
            <a:spLocks noChangeAspect="1"/>
          </p:cNvSpPr>
          <p:nvPr userDrawn="1"/>
        </p:nvSpPr>
        <p:spPr>
          <a:xfrm>
            <a:off x="9261144" y="-358239"/>
            <a:ext cx="3261454" cy="3230005"/>
          </a:xfrm>
          <a:prstGeom prst="donut">
            <a:avLst>
              <a:gd name="adj" fmla="val 2682"/>
            </a:avLst>
          </a:prstGeom>
          <a:gradFill flip="none" rotWithShape="1">
            <a:gsLst>
              <a:gs pos="0">
                <a:srgbClr val="BF3B4B"/>
              </a:gs>
              <a:gs pos="63000">
                <a:srgbClr val="BF3B4B">
                  <a:alpha val="38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pic>
        <p:nvPicPr>
          <p:cNvPr id="19" name="Picture Placeholder 34">
            <a:extLst>
              <a:ext uri="{FF2B5EF4-FFF2-40B4-BE49-F238E27FC236}">
                <a16:creationId xmlns:a16="http://schemas.microsoft.com/office/drawing/2014/main" id="{E0B88EC2-4601-43F2-A32E-E9DD6E98818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9456447" y="-171005"/>
            <a:ext cx="2881395" cy="2881395"/>
          </a:xfrm>
          <a:prstGeom prst="ellipse">
            <a:avLst/>
          </a:prstGeom>
          <a:ln>
            <a:noFill/>
          </a:ln>
        </p:spPr>
      </p:pic>
      <p:sp>
        <p:nvSpPr>
          <p:cNvPr id="2" name="Text Placeholder 4">
            <a:extLst>
              <a:ext uri="{FF2B5EF4-FFF2-40B4-BE49-F238E27FC236}">
                <a16:creationId xmlns:a16="http://schemas.microsoft.com/office/drawing/2014/main" id="{F9E8E79C-94DF-5ACB-9CA6-D9369BE764FB}"/>
              </a:ext>
            </a:extLst>
          </p:cNvPr>
          <p:cNvSpPr>
            <a:spLocks noGrp="1"/>
          </p:cNvSpPr>
          <p:nvPr>
            <p:ph type="body" sz="quarter" idx="11"/>
          </p:nvPr>
        </p:nvSpPr>
        <p:spPr>
          <a:xfrm>
            <a:off x="3129827" y="1671951"/>
            <a:ext cx="7366723" cy="4528824"/>
          </a:xfrm>
          <a:prstGeom prst="rect">
            <a:avLst/>
          </a:prstGeom>
        </p:spPr>
        <p:txBody>
          <a:bodyPr/>
          <a:lstStyle>
            <a:lvl1pPr marL="0" indent="0">
              <a:buNone/>
              <a:defRPr b="1">
                <a:latin typeface="Ink Free" panose="03080402000500000000" pitchFamily="66" charset="0"/>
              </a:defRPr>
            </a:lvl1pPr>
            <a:lvl2pPr>
              <a:defRPr>
                <a:latin typeface="Ink Free" panose="03080402000500000000" pitchFamily="66" charset="0"/>
              </a:defRPr>
            </a:lvl2pPr>
            <a:lvl3pPr>
              <a:defRPr>
                <a:latin typeface="Ink Free" panose="03080402000500000000" pitchFamily="66" charset="0"/>
              </a:defRPr>
            </a:lvl3pPr>
            <a:lvl4pPr>
              <a:defRPr>
                <a:latin typeface="Ink Free" panose="03080402000500000000" pitchFamily="66" charset="0"/>
              </a:defRPr>
            </a:lvl4pPr>
            <a:lvl5pPr>
              <a:defRPr>
                <a:latin typeface="Ink Free" panose="03080402000500000000" pitchFamily="66" charset="0"/>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A31E30A9-C1B5-8F27-4292-86D4B0C219E2}"/>
              </a:ext>
            </a:extLst>
          </p:cNvPr>
          <p:cNvSpPr>
            <a:spLocks noGrp="1"/>
          </p:cNvSpPr>
          <p:nvPr>
            <p:ph type="sldNum" sz="quarter" idx="12"/>
          </p:nvPr>
        </p:nvSpPr>
        <p:spPr/>
        <p:txBody>
          <a:bodyPr/>
          <a:lstStyle/>
          <a:p>
            <a:fld id="{CC62790A-B937-4AF6-AB00-7B0D9DC7434B}" type="slidenum">
              <a:rPr lang="nl-NL" smtClean="0"/>
              <a:pPr/>
              <a:t>‹#›</a:t>
            </a:fld>
            <a:endParaRPr lang="nl-NL"/>
          </a:p>
        </p:txBody>
      </p:sp>
    </p:spTree>
    <p:extLst>
      <p:ext uri="{BB962C8B-B14F-4D97-AF65-F5344CB8AC3E}">
        <p14:creationId xmlns:p14="http://schemas.microsoft.com/office/powerpoint/2010/main" val="1943895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theme" Target="../theme/theme10.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80.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82.xml"/><Relationship Id="rId1" Type="http://schemas.openxmlformats.org/officeDocument/2006/relationships/slideLayout" Target="../slideLayouts/slideLayout18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theme" Target="../theme/theme13.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theme" Target="../theme/theme2.xml"/><Relationship Id="rId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4.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theme" Target="../theme/theme5.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theme" Target="../theme/theme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theme" Target="../theme/theme7.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theme" Target="../theme/theme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theme" Target="../theme/theme9.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54122ED7-1914-434F-9883-AE5935302A81}"/>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CA189D84-B0AF-4AF1-6C26-F77162A6C055}"/>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2253695231"/>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825" r:id="rId3"/>
    <p:sldLayoutId id="2147483826" r:id="rId4"/>
    <p:sldLayoutId id="2147483874" r:id="rId5"/>
    <p:sldLayoutId id="2147483876" r:id="rId6"/>
    <p:sldLayoutId id="2147483873" r:id="rId7"/>
    <p:sldLayoutId id="2147483875" r:id="rId8"/>
    <p:sldLayoutId id="2147483924" r:id="rId9"/>
    <p:sldLayoutId id="2147483925" r:id="rId10"/>
    <p:sldLayoutId id="2147483926" r:id="rId11"/>
    <p:sldLayoutId id="2147483927" r:id="rId12"/>
    <p:sldLayoutId id="2147483928" r:id="rId13"/>
    <p:sldLayoutId id="2147483976" r:id="rId14"/>
    <p:sldLayoutId id="2147483974" r:id="rId15"/>
    <p:sldLayoutId id="2147483975" r:id="rId16"/>
    <p:sldLayoutId id="2147484042" r:id="rId17"/>
    <p:sldLayoutId id="2147484043" r:id="rId18"/>
    <p:sldLayoutId id="2147484044" r:id="rId19"/>
    <p:sldLayoutId id="2147484048"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717D016D-D214-4C87-8FC7-68B10373FDFE}"/>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F3F5F0C0-0E85-9A71-E458-499F107DC0EF}"/>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1868986140"/>
      </p:ext>
    </p:extLst>
  </p:cSld>
  <p:clrMap bg1="lt1" tx1="dk1" bg2="lt2" tx2="dk2" accent1="accent1" accent2="accent2" accent3="accent3" accent4="accent4" accent5="accent5" accent6="accent6" hlink="hlink" folHlink="folHlink"/>
  <p:sldLayoutIdLst>
    <p:sldLayoutId id="2147483816" r:id="rId1"/>
    <p:sldLayoutId id="2147483820" r:id="rId2"/>
    <p:sldLayoutId id="2147483821" r:id="rId3"/>
    <p:sldLayoutId id="2147483867" r:id="rId4"/>
    <p:sldLayoutId id="2147483868" r:id="rId5"/>
    <p:sldLayoutId id="2147483869" r:id="rId6"/>
    <p:sldLayoutId id="2147483915" r:id="rId7"/>
    <p:sldLayoutId id="2147483916" r:id="rId8"/>
    <p:sldLayoutId id="2147483917" r:id="rId9"/>
    <p:sldLayoutId id="2147483918" r:id="rId10"/>
    <p:sldLayoutId id="2147483997" r:id="rId11"/>
    <p:sldLayoutId id="2147483998" r:id="rId12"/>
    <p:sldLayoutId id="2147483999" r:id="rId13"/>
    <p:sldLayoutId id="2147484000" r:id="rId14"/>
    <p:sldLayoutId id="2147484004" r:id="rId15"/>
    <p:sldLayoutId id="2147484001" r:id="rId16"/>
    <p:sldLayoutId id="2147484002" r:id="rId17"/>
    <p:sldLayoutId id="2147484003" r:id="rId18"/>
    <p:sldLayoutId id="2147483822" r:id="rId19"/>
    <p:sldLayoutId id="2147483817" r:id="rId20"/>
    <p:sldLayoutId id="2147483819" r:id="rId21"/>
    <p:sldLayoutId id="2147484029" r:id="rId2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23E979-01B8-9FAC-D85E-82192EEAC642}"/>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452284608"/>
      </p:ext>
    </p:extLst>
  </p:cSld>
  <p:clrMap bg1="lt1" tx1="dk1" bg2="lt2" tx2="dk2" accent1="accent1" accent2="accent2" accent3="accent3" accent4="accent4" accent5="accent5" accent6="accent6" hlink="hlink" folHlink="folHlink"/>
  <p:sldLayoutIdLst>
    <p:sldLayoutId id="2147484032" r:id="rId1"/>
    <p:sldLayoutId id="2147484040" r:id="rId2"/>
    <p:sldLayoutId id="2147484050"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572056-D901-53CD-008A-897003F8C302}"/>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346234790"/>
      </p:ext>
    </p:extLst>
  </p:cSld>
  <p:clrMap bg1="lt1" tx1="dk1" bg2="lt2" tx2="dk2" accent1="accent1" accent2="accent2" accent3="accent3" accent4="accent4" accent5="accent5" accent6="accent6" hlink="hlink" folHlink="folHlink"/>
  <p:sldLayoutIdLst>
    <p:sldLayoutId id="2147484037" r:id="rId1"/>
    <p:sldLayoutId id="2147484041"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A87EE1C9-E666-4B50-B7DD-2BDF88DB411D}"/>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Tree>
    <p:extLst>
      <p:ext uri="{BB962C8B-B14F-4D97-AF65-F5344CB8AC3E}">
        <p14:creationId xmlns:p14="http://schemas.microsoft.com/office/powerpoint/2010/main" val="279137213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835" r:id="rId3"/>
    <p:sldLayoutId id="2147483834" r:id="rId4"/>
    <p:sldLayoutId id="2147483877" r:id="rId5"/>
    <p:sldLayoutId id="2147483878" r:id="rId6"/>
    <p:sldLayoutId id="2147483879" r:id="rId7"/>
    <p:sldLayoutId id="2147483880" r:id="rId8"/>
    <p:sldLayoutId id="2147483937" r:id="rId9"/>
    <p:sldLayoutId id="2147483938" r:id="rId10"/>
    <p:sldLayoutId id="2147483939" r:id="rId11"/>
    <p:sldLayoutId id="2147483940" r:id="rId12"/>
    <p:sldLayoutId id="2147483941" r:id="rId13"/>
    <p:sldLayoutId id="2147483977" r:id="rId14"/>
    <p:sldLayoutId id="2147483978" r:id="rId15"/>
    <p:sldLayoutId id="214748397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EF81B3-98D7-72CC-6050-A3C3D9EDAC3E}"/>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323497015"/>
      </p:ext>
    </p:extLst>
  </p:cSld>
  <p:clrMap bg1="lt1" tx1="dk1" bg2="lt2" tx2="dk2" accent1="accent1" accent2="accent2" accent3="accent3" accent4="accent4" accent5="accent5" accent6="accent6" hlink="hlink" folHlink="folHlink"/>
  <p:sldLayoutIdLst>
    <p:sldLayoutId id="2147484034" r:id="rId1"/>
    <p:sldLayoutId id="2147484038" r:id="rId2"/>
    <p:sldLayoutId id="2147484039" r:id="rId3"/>
    <p:sldLayoutId id="2147484035"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C52FD201-0153-4BF5-868F-D4D67620383C}"/>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6B7EB9C5-5398-6DC1-03BF-2C3C0CD0B54E}"/>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606287967"/>
      </p:ext>
    </p:extLst>
  </p:cSld>
  <p:clrMap bg1="lt1" tx1="dk1" bg2="lt2" tx2="dk2" accent1="accent1" accent2="accent2" accent3="accent3" accent4="accent4" accent5="accent5" accent6="accent6" hlink="hlink" folHlink="folHlink"/>
  <p:sldLayoutIdLst>
    <p:sldLayoutId id="2147483742" r:id="rId1"/>
    <p:sldLayoutId id="2147483814" r:id="rId2"/>
    <p:sldLayoutId id="2147483815" r:id="rId3"/>
    <p:sldLayoutId id="2147483833" r:id="rId4"/>
    <p:sldLayoutId id="2147483827" r:id="rId5"/>
    <p:sldLayoutId id="2147483828" r:id="rId6"/>
    <p:sldLayoutId id="2147483829" r:id="rId7"/>
    <p:sldLayoutId id="2147483881" r:id="rId8"/>
    <p:sldLayoutId id="2147483882" r:id="rId9"/>
    <p:sldLayoutId id="2147483883" r:id="rId10"/>
    <p:sldLayoutId id="2147483884"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769"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1919A812-8BC6-45B6-AC1F-C0396845F393}"/>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9B6C9B6F-FA65-7036-8FA4-35FEF6BF24FF}"/>
              </a:ext>
            </a:extLst>
          </p:cNvPr>
          <p:cNvSpPr>
            <a:spLocks noGrp="1"/>
          </p:cNvSpPr>
          <p:nvPr>
            <p:ph type="sldNum" sz="quarter" idx="4"/>
          </p:nvPr>
        </p:nvSpPr>
        <p:spPr>
          <a:xfrm>
            <a:off x="9369725" y="641673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E112F761-781A-4F50-9DEE-CC804A409563}" type="slidenum">
              <a:rPr lang="nl-NL" smtClean="0"/>
              <a:pPr/>
              <a:t>‹#›</a:t>
            </a:fld>
            <a:endParaRPr lang="nl-NL"/>
          </a:p>
        </p:txBody>
      </p:sp>
    </p:spTree>
    <p:extLst>
      <p:ext uri="{BB962C8B-B14F-4D97-AF65-F5344CB8AC3E}">
        <p14:creationId xmlns:p14="http://schemas.microsoft.com/office/powerpoint/2010/main" val="727954729"/>
      </p:ext>
    </p:extLst>
  </p:cSld>
  <p:clrMap bg1="lt1" tx1="dk1" bg2="lt2" tx2="dk2" accent1="accent1" accent2="accent2" accent3="accent3" accent4="accent4" accent5="accent5" accent6="accent6" hlink="hlink" folHlink="folHlink"/>
  <p:sldLayoutIdLst>
    <p:sldLayoutId id="2147483734" r:id="rId1"/>
    <p:sldLayoutId id="2147483773" r:id="rId2"/>
    <p:sldLayoutId id="2147483774" r:id="rId3"/>
    <p:sldLayoutId id="2147484017" r:id="rId4"/>
    <p:sldLayoutId id="2147484018" r:id="rId5"/>
    <p:sldLayoutId id="2147484019" r:id="rId6"/>
    <p:sldLayoutId id="2147484021" r:id="rId7"/>
    <p:sldLayoutId id="2147484022" r:id="rId8"/>
    <p:sldLayoutId id="2147484023" r:id="rId9"/>
    <p:sldLayoutId id="2147484026" r:id="rId10"/>
    <p:sldLayoutId id="214748402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0E8F3440-0754-4B0B-9851-5EFDBEFA1ED3}"/>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FD3BC72E-1B99-A50C-372E-330D720AE33E}"/>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3687066805"/>
      </p:ext>
    </p:extLst>
  </p:cSld>
  <p:clrMap bg1="lt1" tx1="dk1" bg2="lt2" tx2="dk2" accent1="accent1" accent2="accent2" accent3="accent3" accent4="accent4" accent5="accent5" accent6="accent6" hlink="hlink" folHlink="folHlink"/>
  <p:sldLayoutIdLst>
    <p:sldLayoutId id="2147483745" r:id="rId1"/>
    <p:sldLayoutId id="2147483776" r:id="rId2"/>
    <p:sldLayoutId id="2147483781" r:id="rId3"/>
    <p:sldLayoutId id="2147483839" r:id="rId4"/>
    <p:sldLayoutId id="2147483830" r:id="rId5"/>
    <p:sldLayoutId id="2147483831" r:id="rId6"/>
    <p:sldLayoutId id="2147483832" r:id="rId7"/>
    <p:sldLayoutId id="2147483889" r:id="rId8"/>
    <p:sldLayoutId id="2147483886" r:id="rId9"/>
    <p:sldLayoutId id="2147483887" r:id="rId10"/>
    <p:sldLayoutId id="2147483888"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780"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A06B67D6-D2AA-4CB5-BB14-6A217937A716}"/>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DE007F2E-9EBF-DAF3-6E46-19393D6C6E93}"/>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3009645139"/>
      </p:ext>
    </p:extLst>
  </p:cSld>
  <p:clrMap bg1="lt1" tx1="dk1" bg2="lt2" tx2="dk2" accent1="accent1" accent2="accent2" accent3="accent3" accent4="accent4" accent5="accent5" accent6="accent6" hlink="hlink" folHlink="folHlink"/>
  <p:sldLayoutIdLst>
    <p:sldLayoutId id="2147483746" r:id="rId1"/>
    <p:sldLayoutId id="2147483841" r:id="rId2"/>
    <p:sldLayoutId id="2147483842" r:id="rId3"/>
    <p:sldLayoutId id="2147483840" r:id="rId4"/>
    <p:sldLayoutId id="2147483843" r:id="rId5"/>
    <p:sldLayoutId id="2147483803" r:id="rId6"/>
    <p:sldLayoutId id="2147483802" r:id="rId7"/>
    <p:sldLayoutId id="2147483895" r:id="rId8"/>
    <p:sldLayoutId id="2147483896" r:id="rId9"/>
    <p:sldLayoutId id="2147483897" r:id="rId10"/>
    <p:sldLayoutId id="2147483898"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804"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5BC2915C-91CA-41FD-ADEC-0598F2C5F120}"/>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6562ECC5-815E-ADF3-1B1C-D4F0EF02B0B2}"/>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1369645148"/>
      </p:ext>
    </p:extLst>
  </p:cSld>
  <p:clrMap bg1="lt1" tx1="dk1" bg2="lt2" tx2="dk2" accent1="accent1" accent2="accent2" accent3="accent3" accent4="accent4" accent5="accent5" accent6="accent6" hlink="hlink" folHlink="folHlink"/>
  <p:sldLayoutIdLst>
    <p:sldLayoutId id="2147483785" r:id="rId1"/>
    <p:sldLayoutId id="2147483805" r:id="rId2"/>
    <p:sldLayoutId id="2147483806" r:id="rId3"/>
    <p:sldLayoutId id="2147483845" r:id="rId4"/>
    <p:sldLayoutId id="2147483846" r:id="rId5"/>
    <p:sldLayoutId id="2147483847" r:id="rId6"/>
    <p:sldLayoutId id="2147483848" r:id="rId7"/>
    <p:sldLayoutId id="2147483900" r:id="rId8"/>
    <p:sldLayoutId id="2147483901" r:id="rId9"/>
    <p:sldLayoutId id="2147483902" r:id="rId10"/>
    <p:sldLayoutId id="2147483903" r:id="rId11"/>
    <p:sldLayoutId id="2147483963" r:id="rId12"/>
    <p:sldLayoutId id="2147483967" r:id="rId13"/>
    <p:sldLayoutId id="2147483968" r:id="rId14"/>
    <p:sldLayoutId id="2147483969" r:id="rId15"/>
    <p:sldLayoutId id="2147483970" r:id="rId16"/>
    <p:sldLayoutId id="2147483964" r:id="rId17"/>
    <p:sldLayoutId id="2147483965" r:id="rId18"/>
    <p:sldLayoutId id="2147483966" r:id="rId19"/>
    <p:sldLayoutId id="2147483807"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F9674E2C-1072-4356-A07B-0A32BBDF9221}"/>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D4985E12-FE36-546E-8A80-610C7384E226}"/>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1560827226"/>
      </p:ext>
    </p:extLst>
  </p:cSld>
  <p:clrMap bg1="lt1" tx1="dk1" bg2="lt2" tx2="dk2" accent1="accent1" accent2="accent2" accent3="accent3" accent4="accent4" accent5="accent5" accent6="accent6" hlink="hlink" folHlink="folHlink"/>
  <p:sldLayoutIdLst>
    <p:sldLayoutId id="2147483748" r:id="rId1"/>
    <p:sldLayoutId id="2147483808" r:id="rId2"/>
    <p:sldLayoutId id="2147483809" r:id="rId3"/>
    <p:sldLayoutId id="2147483856" r:id="rId4"/>
    <p:sldLayoutId id="2147483853" r:id="rId5"/>
    <p:sldLayoutId id="2147483854" r:id="rId6"/>
    <p:sldLayoutId id="2147483855" r:id="rId7"/>
    <p:sldLayoutId id="2147483905" r:id="rId8"/>
    <p:sldLayoutId id="2147483906" r:id="rId9"/>
    <p:sldLayoutId id="2147483907" r:id="rId10"/>
    <p:sldLayoutId id="2147483908" r:id="rId11"/>
    <p:sldLayoutId id="2147483989" r:id="rId12"/>
    <p:sldLayoutId id="2147483990" r:id="rId13"/>
    <p:sldLayoutId id="2147483991" r:id="rId14"/>
    <p:sldLayoutId id="2147483992" r:id="rId15"/>
    <p:sldLayoutId id="2147483996" r:id="rId16"/>
    <p:sldLayoutId id="2147483993" r:id="rId17"/>
    <p:sldLayoutId id="2147483994" r:id="rId18"/>
    <p:sldLayoutId id="2147483995" r:id="rId19"/>
    <p:sldLayoutId id="2147483810"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MSIPCMContentMarking" descr="{&quot;HashCode&quot;:905108722,&quot;Placement&quot;:&quot;Header&quot;,&quot;Top&quot;:0.0,&quot;Left&quot;:0.0,&quot;SlideWidth&quot;:960,&quot;SlideHeight&quot;:540}">
            <a:extLst>
              <a:ext uri="{FF2B5EF4-FFF2-40B4-BE49-F238E27FC236}">
                <a16:creationId xmlns:a16="http://schemas.microsoft.com/office/drawing/2014/main" id="{D40E5C91-D701-4DF3-8EA8-6487D751F113}"/>
              </a:ext>
            </a:extLst>
          </p:cNvPr>
          <p:cNvSpPr txBox="1"/>
          <p:nvPr userDrawn="1"/>
        </p:nvSpPr>
        <p:spPr>
          <a:xfrm>
            <a:off x="0" y="0"/>
            <a:ext cx="1387009" cy="234315"/>
          </a:xfrm>
          <a:prstGeom prst="rect">
            <a:avLst/>
          </a:prstGeom>
          <a:noFill/>
        </p:spPr>
        <p:txBody>
          <a:bodyPr vert="horz" wrap="square" lIns="0" tIns="0" rIns="0" bIns="0" rtlCol="0" anchor="ctr" anchorCtr="1">
            <a:spAutoFit/>
          </a:bodyPr>
          <a:lstStyle/>
          <a:p>
            <a:pPr algn="l">
              <a:spcBef>
                <a:spcPts val="0"/>
              </a:spcBef>
              <a:spcAft>
                <a:spcPts val="0"/>
              </a:spcAft>
            </a:pPr>
            <a:r>
              <a:rPr lang="nl-NL" sz="1000">
                <a:solidFill>
                  <a:srgbClr val="747474"/>
                </a:solidFill>
                <a:latin typeface="Delivery" panose="020F0503020204020204" pitchFamily="34" charset="0"/>
              </a:rPr>
              <a:t>FOR INTERNAL USE</a:t>
            </a:r>
          </a:p>
        </p:txBody>
      </p:sp>
      <p:sp>
        <p:nvSpPr>
          <p:cNvPr id="2" name="Slide Number Placeholder 1">
            <a:extLst>
              <a:ext uri="{FF2B5EF4-FFF2-40B4-BE49-F238E27FC236}">
                <a16:creationId xmlns:a16="http://schemas.microsoft.com/office/drawing/2014/main" id="{D5C02615-BD65-1603-4668-E42D35A722A8}"/>
              </a:ext>
            </a:extLst>
          </p:cNvPr>
          <p:cNvSpPr>
            <a:spLocks noGrp="1"/>
          </p:cNvSpPr>
          <p:nvPr>
            <p:ph type="sldNum" sz="quarter" idx="4"/>
          </p:nvPr>
        </p:nvSpPr>
        <p:spPr>
          <a:xfrm>
            <a:off x="9431548" y="6492875"/>
            <a:ext cx="2743200" cy="365125"/>
          </a:xfrm>
          <a:prstGeom prst="rect">
            <a:avLst/>
          </a:prstGeom>
        </p:spPr>
        <p:txBody>
          <a:bodyPr vert="horz" lIns="91440" tIns="45720" rIns="91440" bIns="45720" rtlCol="0" anchor="ctr"/>
          <a:lstStyle>
            <a:lvl1pPr algn="r">
              <a:defRPr sz="1400" b="1">
                <a:solidFill>
                  <a:schemeClr val="tx1">
                    <a:tint val="75000"/>
                  </a:schemeClr>
                </a:solidFill>
                <a:latin typeface="Delivery" panose="020F0503020204020204" pitchFamily="34" charset="0"/>
                <a:ea typeface="Delivery" panose="020F0503020204020204" pitchFamily="34" charset="0"/>
                <a:cs typeface="Delivery" panose="020F0503020204020204" pitchFamily="34" charset="0"/>
              </a:defRPr>
            </a:lvl1pPr>
          </a:lstStyle>
          <a:p>
            <a:fld id="{CC62790A-B937-4AF6-AB00-7B0D9DC7434B}" type="slidenum">
              <a:rPr lang="nl-NL" smtClean="0"/>
              <a:pPr/>
              <a:t>‹#›</a:t>
            </a:fld>
            <a:endParaRPr lang="nl-NL"/>
          </a:p>
        </p:txBody>
      </p:sp>
    </p:spTree>
    <p:extLst>
      <p:ext uri="{BB962C8B-B14F-4D97-AF65-F5344CB8AC3E}">
        <p14:creationId xmlns:p14="http://schemas.microsoft.com/office/powerpoint/2010/main" val="380743489"/>
      </p:ext>
    </p:extLst>
  </p:cSld>
  <p:clrMap bg1="lt1" tx1="dk1" bg2="lt2" tx2="dk2" accent1="accent1" accent2="accent2" accent3="accent3" accent4="accent4" accent5="accent5" accent6="accent6" hlink="hlink" folHlink="folHlink"/>
  <p:sldLayoutIdLst>
    <p:sldLayoutId id="2147483799" r:id="rId1"/>
    <p:sldLayoutId id="2147483811" r:id="rId2"/>
    <p:sldLayoutId id="2147483812" r:id="rId3"/>
    <p:sldLayoutId id="2147483861" r:id="rId4"/>
    <p:sldLayoutId id="2147483858" r:id="rId5"/>
    <p:sldLayoutId id="2147483859" r:id="rId6"/>
    <p:sldLayoutId id="2147483860" r:id="rId7"/>
    <p:sldLayoutId id="2147483910" r:id="rId8"/>
    <p:sldLayoutId id="2147483911" r:id="rId9"/>
    <p:sldLayoutId id="2147483912" r:id="rId10"/>
    <p:sldLayoutId id="2147483913"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813"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18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2.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83.svg"/><Relationship Id="rId2" Type="http://schemas.openxmlformats.org/officeDocument/2006/relationships/image" Target="../media/image182.png"/><Relationship Id="rId1" Type="http://schemas.openxmlformats.org/officeDocument/2006/relationships/slideLayout" Target="../slideLayouts/slideLayout17.xml"/><Relationship Id="rId5" Type="http://schemas.openxmlformats.org/officeDocument/2006/relationships/image" Target="../media/image185.svg"/><Relationship Id="rId4" Type="http://schemas.openxmlformats.org/officeDocument/2006/relationships/image" Target="../media/image184.png"/></Relationships>
</file>

<file path=ppt/slides/_rels/slide5.xml.rels><?xml version="1.0" encoding="UTF-8" standalone="yes"?>
<Relationships xmlns="http://schemas.openxmlformats.org/package/2006/relationships"><Relationship Id="rId3" Type="http://schemas.openxmlformats.org/officeDocument/2006/relationships/image" Target="../media/image183.svg"/><Relationship Id="rId2" Type="http://schemas.openxmlformats.org/officeDocument/2006/relationships/image" Target="../media/image182.png"/><Relationship Id="rId1" Type="http://schemas.openxmlformats.org/officeDocument/2006/relationships/slideLayout" Target="../slideLayouts/slideLayout17.xml"/><Relationship Id="rId5" Type="http://schemas.openxmlformats.org/officeDocument/2006/relationships/image" Target="../media/image185.svg"/><Relationship Id="rId4" Type="http://schemas.openxmlformats.org/officeDocument/2006/relationships/image" Target="../media/image184.png"/></Relationships>
</file>

<file path=ppt/slides/_rels/slide6.xml.rels><?xml version="1.0" encoding="UTF-8" standalone="yes"?>
<Relationships xmlns="http://schemas.openxmlformats.org/package/2006/relationships"><Relationship Id="rId3" Type="http://schemas.openxmlformats.org/officeDocument/2006/relationships/image" Target="../media/image183.svg"/><Relationship Id="rId2" Type="http://schemas.openxmlformats.org/officeDocument/2006/relationships/image" Target="../media/image182.png"/><Relationship Id="rId1" Type="http://schemas.openxmlformats.org/officeDocument/2006/relationships/slideLayout" Target="../slideLayouts/slideLayout17.xml"/><Relationship Id="rId5" Type="http://schemas.openxmlformats.org/officeDocument/2006/relationships/image" Target="../media/image185.svg"/><Relationship Id="rId4" Type="http://schemas.openxmlformats.org/officeDocument/2006/relationships/image" Target="../media/image184.png"/></Relationships>
</file>

<file path=ppt/slides/_rels/slide7.xml.rels><?xml version="1.0" encoding="UTF-8" standalone="yes"?>
<Relationships xmlns="http://schemas.openxmlformats.org/package/2006/relationships"><Relationship Id="rId3" Type="http://schemas.openxmlformats.org/officeDocument/2006/relationships/image" Target="../media/image183.svg"/><Relationship Id="rId2" Type="http://schemas.openxmlformats.org/officeDocument/2006/relationships/image" Target="../media/image182.png"/><Relationship Id="rId1" Type="http://schemas.openxmlformats.org/officeDocument/2006/relationships/slideLayout" Target="../slideLayouts/slideLayout17.xml"/><Relationship Id="rId5" Type="http://schemas.openxmlformats.org/officeDocument/2006/relationships/image" Target="../media/image185.svg"/><Relationship Id="rId4" Type="http://schemas.openxmlformats.org/officeDocument/2006/relationships/image" Target="../media/image18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08A47195-4824-4907-8AE9-D7AD4BE08E28}"/>
              </a:ext>
            </a:extLst>
          </p:cNvPr>
          <p:cNvSpPr>
            <a:spLocks noGrp="1"/>
          </p:cNvSpPr>
          <p:nvPr>
            <p:ph type="title"/>
          </p:nvPr>
        </p:nvSpPr>
        <p:spPr/>
        <p:txBody>
          <a:bodyPr>
            <a:normAutofit/>
          </a:bodyPr>
          <a:lstStyle/>
          <a:p>
            <a:r>
              <a:rPr lang="en-US" sz="1800" b="1" cap="all" dirty="0">
                <a:solidFill>
                  <a:srgbClr val="00AEEF"/>
                </a:solidFill>
                <a:effectLst/>
                <a:latin typeface="Delivery" panose="020F0503020204020204" pitchFamily="34" charset="0"/>
                <a:ea typeface="Frutiger LT"/>
                <a:cs typeface="Frutiger LT"/>
              </a:rPr>
              <a:t>CV Writing</a:t>
            </a:r>
            <a:endParaRPr lang="nl-NL" dirty="0"/>
          </a:p>
        </p:txBody>
      </p:sp>
      <p:sp>
        <p:nvSpPr>
          <p:cNvPr id="14" name="Text Placeholder 13">
            <a:extLst>
              <a:ext uri="{FF2B5EF4-FFF2-40B4-BE49-F238E27FC236}">
                <a16:creationId xmlns:a16="http://schemas.microsoft.com/office/drawing/2014/main" id="{887328E7-1ABA-4A97-BD13-05DA9C2D8B9D}"/>
              </a:ext>
            </a:extLst>
          </p:cNvPr>
          <p:cNvSpPr>
            <a:spLocks noGrp="1"/>
          </p:cNvSpPr>
          <p:nvPr>
            <p:ph type="body" sz="quarter" idx="10"/>
          </p:nvPr>
        </p:nvSpPr>
        <p:spPr/>
        <p:txBody>
          <a:bodyPr>
            <a:normAutofit fontScale="92500" lnSpcReduction="10000"/>
          </a:bodyPr>
          <a:lstStyle/>
          <a:p>
            <a:r>
              <a:rPr lang="nl-NL"/>
              <a:t>Workbook</a:t>
            </a:r>
          </a:p>
        </p:txBody>
      </p:sp>
    </p:spTree>
    <p:extLst>
      <p:ext uri="{BB962C8B-B14F-4D97-AF65-F5344CB8AC3E}">
        <p14:creationId xmlns:p14="http://schemas.microsoft.com/office/powerpoint/2010/main" val="2338473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311F4-788F-B009-6145-B306FA7D9BB2}"/>
              </a:ext>
            </a:extLst>
          </p:cNvPr>
          <p:cNvSpPr>
            <a:spLocks noGrp="1"/>
          </p:cNvSpPr>
          <p:nvPr>
            <p:ph type="title"/>
          </p:nvPr>
        </p:nvSpPr>
        <p:spPr/>
        <p:txBody>
          <a:bodyPr>
            <a:normAutofit/>
          </a:bodyPr>
          <a:lstStyle/>
          <a:p>
            <a:r>
              <a:rPr lang="en-US"/>
              <a:t>WHAT ARE MY ACHIEVEMENTS?</a:t>
            </a:r>
          </a:p>
        </p:txBody>
      </p:sp>
      <p:grpSp>
        <p:nvGrpSpPr>
          <p:cNvPr id="21" name="Google Shape;660;p19">
            <a:extLst>
              <a:ext uri="{FF2B5EF4-FFF2-40B4-BE49-F238E27FC236}">
                <a16:creationId xmlns:a16="http://schemas.microsoft.com/office/drawing/2014/main" id="{A1FBD147-7DE5-C938-7E6A-F5D4907FA19A}"/>
              </a:ext>
            </a:extLst>
          </p:cNvPr>
          <p:cNvGrpSpPr/>
          <p:nvPr/>
        </p:nvGrpSpPr>
        <p:grpSpPr>
          <a:xfrm>
            <a:off x="328995" y="3943797"/>
            <a:ext cx="10707363" cy="2669354"/>
            <a:chOff x="655" y="665973"/>
            <a:chExt cx="10707363" cy="2669354"/>
          </a:xfrm>
        </p:grpSpPr>
        <p:sp>
          <p:nvSpPr>
            <p:cNvPr id="22" name="Google Shape;661;p19">
              <a:extLst>
                <a:ext uri="{FF2B5EF4-FFF2-40B4-BE49-F238E27FC236}">
                  <a16:creationId xmlns:a16="http://schemas.microsoft.com/office/drawing/2014/main" id="{CF3194B3-2520-A6CA-2EF1-AD4D8D4F0B88}"/>
                </a:ext>
              </a:extLst>
            </p:cNvPr>
            <p:cNvSpPr/>
            <p:nvPr/>
          </p:nvSpPr>
          <p:spPr>
            <a:xfrm>
              <a:off x="655" y="759265"/>
              <a:ext cx="4102126" cy="816457"/>
            </a:xfrm>
            <a:prstGeom prst="roundRect">
              <a:avLst>
                <a:gd name="adj" fmla="val 10000"/>
              </a:avLst>
            </a:prstGeom>
            <a:solidFill>
              <a:srgbClr val="3563E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2;p19">
              <a:extLst>
                <a:ext uri="{FF2B5EF4-FFF2-40B4-BE49-F238E27FC236}">
                  <a16:creationId xmlns:a16="http://schemas.microsoft.com/office/drawing/2014/main" id="{E90D5F26-6BC9-FF9C-FE46-41B7F908AE84}"/>
                </a:ext>
              </a:extLst>
            </p:cNvPr>
            <p:cNvSpPr txBox="1"/>
            <p:nvPr/>
          </p:nvSpPr>
          <p:spPr>
            <a:xfrm>
              <a:off x="655" y="759265"/>
              <a:ext cx="4102126" cy="544304"/>
            </a:xfrm>
            <a:prstGeom prst="rect">
              <a:avLst/>
            </a:prstGeom>
            <a:noFill/>
            <a:ln>
              <a:noFill/>
            </a:ln>
          </p:spPr>
          <p:txBody>
            <a:bodyPr spcFirstLastPara="1" wrap="square" lIns="156450" tIns="156450" rIns="156450" bIns="83800" anchor="t" anchorCtr="0">
              <a:noAutofit/>
            </a:bodyPr>
            <a:lstStyle/>
            <a:p>
              <a:pPr marL="0" marR="0" lvl="0" indent="0" algn="l" rtl="0">
                <a:lnSpc>
                  <a:spcPct val="90000"/>
                </a:lnSpc>
                <a:spcBef>
                  <a:spcPts val="0"/>
                </a:spcBef>
                <a:spcAft>
                  <a:spcPts val="0"/>
                </a:spcAft>
                <a:buNone/>
              </a:pPr>
              <a:r>
                <a:rPr lang="en-GB" sz="2200">
                  <a:solidFill>
                    <a:schemeClr val="lt1"/>
                  </a:solidFill>
                  <a:latin typeface="Arial"/>
                  <a:ea typeface="Arial"/>
                  <a:cs typeface="Arial"/>
                  <a:sym typeface="Arial"/>
                </a:rPr>
                <a:t>Sports, teams and clubs</a:t>
              </a:r>
              <a:endParaRPr/>
            </a:p>
          </p:txBody>
        </p:sp>
        <p:sp>
          <p:nvSpPr>
            <p:cNvPr id="24" name="Google Shape;663;p19">
              <a:extLst>
                <a:ext uri="{FF2B5EF4-FFF2-40B4-BE49-F238E27FC236}">
                  <a16:creationId xmlns:a16="http://schemas.microsoft.com/office/drawing/2014/main" id="{33361437-3A4F-D03C-5112-9FD08FF07207}"/>
                </a:ext>
              </a:extLst>
            </p:cNvPr>
            <p:cNvSpPr/>
            <p:nvPr/>
          </p:nvSpPr>
          <p:spPr>
            <a:xfrm>
              <a:off x="939432" y="1206347"/>
              <a:ext cx="3768155" cy="2128979"/>
            </a:xfrm>
            <a:prstGeom prst="roundRect">
              <a:avLst>
                <a:gd name="adj" fmla="val 10000"/>
              </a:avLst>
            </a:prstGeom>
            <a:solidFill>
              <a:schemeClr val="lt1">
                <a:alpha val="89803"/>
              </a:schemeClr>
            </a:solidFill>
            <a:ln w="12700" cap="flat" cmpd="sng">
              <a:solidFill>
                <a:srgbClr val="3563E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4;p19">
              <a:extLst>
                <a:ext uri="{FF2B5EF4-FFF2-40B4-BE49-F238E27FC236}">
                  <a16:creationId xmlns:a16="http://schemas.microsoft.com/office/drawing/2014/main" id="{BEFB52B9-5AF4-865A-1189-D4929E049BF1}"/>
                </a:ext>
              </a:extLst>
            </p:cNvPr>
            <p:cNvSpPr txBox="1"/>
            <p:nvPr/>
          </p:nvSpPr>
          <p:spPr>
            <a:xfrm>
              <a:off x="970664" y="1237580"/>
              <a:ext cx="3705691" cy="1003884"/>
            </a:xfrm>
            <a:prstGeom prst="rect">
              <a:avLst/>
            </a:prstGeom>
            <a:noFill/>
            <a:ln>
              <a:noFill/>
            </a:ln>
          </p:spPr>
          <p:txBody>
            <a:bodyPr spcFirstLastPara="1" wrap="square" lIns="227575" tIns="227575" rIns="227575" bIns="227575" anchor="t" anchorCtr="0">
              <a:noAutofit/>
            </a:bodyPr>
            <a:lstStyle/>
            <a:p>
              <a:pPr marL="285750" marR="0" lvl="1" indent="-82550" algn="l" rtl="0">
                <a:lnSpc>
                  <a:spcPct val="90000"/>
                </a:lnSpc>
                <a:spcBef>
                  <a:spcPts val="0"/>
                </a:spcBef>
                <a:spcAft>
                  <a:spcPts val="0"/>
                </a:spcAft>
                <a:buClr>
                  <a:schemeClr val="dk1"/>
                </a:buClr>
                <a:buSzPts val="3200"/>
                <a:buFont typeface="Arial"/>
                <a:buNone/>
              </a:pPr>
              <a:endParaRPr sz="3200" b="0" i="0" u="none" strike="noStrike" cap="none">
                <a:solidFill>
                  <a:schemeClr val="dk1"/>
                </a:solidFill>
                <a:latin typeface="Arial"/>
                <a:ea typeface="Arial"/>
                <a:cs typeface="Arial"/>
                <a:sym typeface="Arial"/>
              </a:endParaRPr>
            </a:p>
          </p:txBody>
        </p:sp>
        <p:sp>
          <p:nvSpPr>
            <p:cNvPr id="26" name="Google Shape;665;p19">
              <a:extLst>
                <a:ext uri="{FF2B5EF4-FFF2-40B4-BE49-F238E27FC236}">
                  <a16:creationId xmlns:a16="http://schemas.microsoft.com/office/drawing/2014/main" id="{89D9561A-CD29-3CB3-9341-0BBC3355C943}"/>
                </a:ext>
              </a:extLst>
            </p:cNvPr>
            <p:cNvSpPr/>
            <p:nvPr/>
          </p:nvSpPr>
          <p:spPr>
            <a:xfrm rot="25864">
              <a:off x="4769892" y="675105"/>
              <a:ext cx="1128830" cy="938161"/>
            </a:xfrm>
            <a:prstGeom prst="rightArrow">
              <a:avLst>
                <a:gd name="adj1" fmla="val 60000"/>
                <a:gd name="adj2" fmla="val 50000"/>
              </a:avLst>
            </a:prstGeom>
            <a:solidFill>
              <a:srgbClr val="ACB6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6;p19">
              <a:extLst>
                <a:ext uri="{FF2B5EF4-FFF2-40B4-BE49-F238E27FC236}">
                  <a16:creationId xmlns:a16="http://schemas.microsoft.com/office/drawing/2014/main" id="{85DA4D1D-F26D-86A5-0217-6582778360FF}"/>
                </a:ext>
              </a:extLst>
            </p:cNvPr>
            <p:cNvSpPr txBox="1"/>
            <p:nvPr/>
          </p:nvSpPr>
          <p:spPr>
            <a:xfrm rot="25864">
              <a:off x="4769896" y="861678"/>
              <a:ext cx="847382" cy="562897"/>
            </a:xfrm>
            <a:prstGeom prst="rect">
              <a:avLst/>
            </a:prstGeom>
            <a:no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None/>
              </a:pPr>
              <a:endParaRPr sz="1800">
                <a:solidFill>
                  <a:schemeClr val="lt1"/>
                </a:solidFill>
                <a:latin typeface="Arial"/>
                <a:ea typeface="Arial"/>
                <a:cs typeface="Arial"/>
                <a:sym typeface="Arial"/>
              </a:endParaRPr>
            </a:p>
          </p:txBody>
        </p:sp>
        <p:sp>
          <p:nvSpPr>
            <p:cNvPr id="28" name="Google Shape;667;p19">
              <a:extLst>
                <a:ext uri="{FF2B5EF4-FFF2-40B4-BE49-F238E27FC236}">
                  <a16:creationId xmlns:a16="http://schemas.microsoft.com/office/drawing/2014/main" id="{845CBB79-5B40-E6BC-9D5E-ECBAE74403F0}"/>
                </a:ext>
              </a:extLst>
            </p:cNvPr>
            <p:cNvSpPr/>
            <p:nvPr/>
          </p:nvSpPr>
          <p:spPr>
            <a:xfrm>
              <a:off x="6232621" y="665973"/>
              <a:ext cx="3768155" cy="1000309"/>
            </a:xfrm>
            <a:prstGeom prst="roundRect">
              <a:avLst>
                <a:gd name="adj" fmla="val 10000"/>
              </a:avLst>
            </a:prstGeom>
            <a:solidFill>
              <a:srgbClr val="3563E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8;p19">
              <a:extLst>
                <a:ext uri="{FF2B5EF4-FFF2-40B4-BE49-F238E27FC236}">
                  <a16:creationId xmlns:a16="http://schemas.microsoft.com/office/drawing/2014/main" id="{19AD88E3-DDF5-8A69-0497-8229A3544871}"/>
                </a:ext>
              </a:extLst>
            </p:cNvPr>
            <p:cNvSpPr txBox="1"/>
            <p:nvPr/>
          </p:nvSpPr>
          <p:spPr>
            <a:xfrm>
              <a:off x="6232621" y="665973"/>
              <a:ext cx="3768155" cy="666873"/>
            </a:xfrm>
            <a:prstGeom prst="rect">
              <a:avLst/>
            </a:prstGeom>
            <a:noFill/>
            <a:ln>
              <a:noFill/>
            </a:ln>
          </p:spPr>
          <p:txBody>
            <a:bodyPr spcFirstLastPara="1" wrap="square" lIns="156450" tIns="156450" rIns="156450" bIns="83800" anchor="t" anchorCtr="0">
              <a:noAutofit/>
            </a:bodyPr>
            <a:lstStyle/>
            <a:p>
              <a:pPr marL="0" marR="0" lvl="0" indent="0" algn="l" rtl="0">
                <a:lnSpc>
                  <a:spcPct val="90000"/>
                </a:lnSpc>
                <a:spcBef>
                  <a:spcPts val="0"/>
                </a:spcBef>
                <a:spcAft>
                  <a:spcPts val="0"/>
                </a:spcAft>
                <a:buNone/>
              </a:pPr>
              <a:r>
                <a:rPr lang="en-GB" sz="2200">
                  <a:solidFill>
                    <a:schemeClr val="lt1"/>
                  </a:solidFill>
                  <a:latin typeface="Arial"/>
                  <a:ea typeface="Arial"/>
                  <a:cs typeface="Arial"/>
                  <a:sym typeface="Arial"/>
                </a:rPr>
                <a:t>Skills</a:t>
              </a:r>
              <a:endParaRPr/>
            </a:p>
          </p:txBody>
        </p:sp>
        <p:sp>
          <p:nvSpPr>
            <p:cNvPr id="30" name="Google Shape;669;p19">
              <a:extLst>
                <a:ext uri="{FF2B5EF4-FFF2-40B4-BE49-F238E27FC236}">
                  <a16:creationId xmlns:a16="http://schemas.microsoft.com/office/drawing/2014/main" id="{DF5E5249-EACB-480C-3411-0CDF63B834F2}"/>
                </a:ext>
              </a:extLst>
            </p:cNvPr>
            <p:cNvSpPr/>
            <p:nvPr/>
          </p:nvSpPr>
          <p:spPr>
            <a:xfrm>
              <a:off x="6939863" y="1067327"/>
              <a:ext cx="3768155" cy="2267999"/>
            </a:xfrm>
            <a:prstGeom prst="roundRect">
              <a:avLst>
                <a:gd name="adj" fmla="val 10000"/>
              </a:avLst>
            </a:prstGeom>
            <a:solidFill>
              <a:schemeClr val="lt1">
                <a:alpha val="89803"/>
              </a:schemeClr>
            </a:solidFill>
            <a:ln w="12700" cap="flat" cmpd="sng">
              <a:solidFill>
                <a:srgbClr val="3563E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0;p19">
              <a:extLst>
                <a:ext uri="{FF2B5EF4-FFF2-40B4-BE49-F238E27FC236}">
                  <a16:creationId xmlns:a16="http://schemas.microsoft.com/office/drawing/2014/main" id="{81605B37-6E9B-AE25-A2D4-4303E8BDB425}"/>
                </a:ext>
              </a:extLst>
            </p:cNvPr>
            <p:cNvSpPr txBox="1"/>
            <p:nvPr/>
          </p:nvSpPr>
          <p:spPr>
            <a:xfrm>
              <a:off x="6995536" y="1123000"/>
              <a:ext cx="3656809" cy="2212327"/>
            </a:xfrm>
            <a:prstGeom prst="rect">
              <a:avLst/>
            </a:prstGeom>
            <a:noFill/>
            <a:ln>
              <a:noFill/>
            </a:ln>
          </p:spPr>
          <p:txBody>
            <a:bodyPr spcFirstLastPara="1" wrap="square" lIns="170675" tIns="170675" rIns="170675" bIns="170675" anchor="t" anchorCtr="0">
              <a:noAutofit/>
            </a:bodyPr>
            <a:lstStyle/>
            <a:p>
              <a:pPr marL="228600" marR="0" lvl="1" indent="-76200" algn="l" rtl="0">
                <a:lnSpc>
                  <a:spcPct val="90000"/>
                </a:lnSpc>
                <a:spcBef>
                  <a:spcPts val="0"/>
                </a:spcBef>
                <a:spcAft>
                  <a:spcPts val="0"/>
                </a:spcAft>
                <a:buClr>
                  <a:schemeClr val="dk1"/>
                </a:buClr>
                <a:buSzPts val="2400"/>
                <a:buFont typeface="Arial"/>
                <a:buNone/>
              </a:pPr>
              <a:endParaRPr sz="2400" b="0" i="0" u="none" strike="noStrike" cap="none">
                <a:solidFill>
                  <a:schemeClr val="dk1"/>
                </a:solidFill>
                <a:latin typeface="Arial"/>
                <a:ea typeface="Arial"/>
                <a:cs typeface="Arial"/>
                <a:sym typeface="Arial"/>
              </a:endParaRPr>
            </a:p>
          </p:txBody>
        </p:sp>
      </p:grpSp>
      <p:grpSp>
        <p:nvGrpSpPr>
          <p:cNvPr id="32" name="Google Shape;671;p19">
            <a:extLst>
              <a:ext uri="{FF2B5EF4-FFF2-40B4-BE49-F238E27FC236}">
                <a16:creationId xmlns:a16="http://schemas.microsoft.com/office/drawing/2014/main" id="{22F4C603-80AF-2CE5-9F72-58B7AFD90BB2}"/>
              </a:ext>
            </a:extLst>
          </p:cNvPr>
          <p:cNvGrpSpPr/>
          <p:nvPr/>
        </p:nvGrpSpPr>
        <p:grpSpPr>
          <a:xfrm>
            <a:off x="327143" y="3945358"/>
            <a:ext cx="10709215" cy="2670103"/>
            <a:chOff x="55095" y="1930408"/>
            <a:chExt cx="10709215" cy="2670103"/>
          </a:xfrm>
        </p:grpSpPr>
        <p:sp>
          <p:nvSpPr>
            <p:cNvPr id="33" name="Google Shape;672;p19">
              <a:extLst>
                <a:ext uri="{FF2B5EF4-FFF2-40B4-BE49-F238E27FC236}">
                  <a16:creationId xmlns:a16="http://schemas.microsoft.com/office/drawing/2014/main" id="{0C1DC5F9-C17E-8AC3-DEC5-7A902461D5BA}"/>
                </a:ext>
              </a:extLst>
            </p:cNvPr>
            <p:cNvSpPr/>
            <p:nvPr/>
          </p:nvSpPr>
          <p:spPr>
            <a:xfrm>
              <a:off x="55095" y="1968414"/>
              <a:ext cx="4102126" cy="887629"/>
            </a:xfrm>
            <a:custGeom>
              <a:avLst/>
              <a:gdLst/>
              <a:ahLst/>
              <a:cxnLst/>
              <a:rect l="l" t="t" r="r" b="b"/>
              <a:pathLst>
                <a:path w="4102126" h="887629" extrusionOk="0">
                  <a:moveTo>
                    <a:pt x="0" y="88763"/>
                  </a:moveTo>
                  <a:cubicBezTo>
                    <a:pt x="0" y="39741"/>
                    <a:pt x="39741" y="0"/>
                    <a:pt x="88763" y="0"/>
                  </a:cubicBezTo>
                  <a:lnTo>
                    <a:pt x="4013363" y="0"/>
                  </a:lnTo>
                  <a:cubicBezTo>
                    <a:pt x="4062385" y="0"/>
                    <a:pt x="4102126" y="39741"/>
                    <a:pt x="4102126" y="88763"/>
                  </a:cubicBezTo>
                  <a:lnTo>
                    <a:pt x="4102126" y="798866"/>
                  </a:lnTo>
                  <a:cubicBezTo>
                    <a:pt x="4102126" y="847888"/>
                    <a:pt x="4062385" y="887629"/>
                    <a:pt x="4013363" y="887629"/>
                  </a:cubicBezTo>
                  <a:lnTo>
                    <a:pt x="88763" y="887629"/>
                  </a:lnTo>
                  <a:cubicBezTo>
                    <a:pt x="39741" y="887629"/>
                    <a:pt x="0" y="847888"/>
                    <a:pt x="0" y="798866"/>
                  </a:cubicBezTo>
                  <a:lnTo>
                    <a:pt x="0" y="88763"/>
                  </a:lnTo>
                  <a:close/>
                </a:path>
              </a:pathLst>
            </a:custGeom>
            <a:solidFill>
              <a:srgbClr val="FECC17"/>
            </a:solidFill>
            <a:ln w="12700" cap="flat" cmpd="sng">
              <a:solidFill>
                <a:schemeClr val="lt1"/>
              </a:solidFill>
              <a:prstDash val="solid"/>
              <a:miter lim="800000"/>
              <a:headEnd type="none" w="sm" len="sm"/>
              <a:tailEnd type="none" w="sm" len="sm"/>
            </a:ln>
          </p:spPr>
          <p:txBody>
            <a:bodyPr spcFirstLastPara="1" wrap="square" lIns="170675" tIns="170675" rIns="170675" bIns="38730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GB" sz="2400">
                  <a:latin typeface="Arial"/>
                  <a:cs typeface="Arial"/>
                  <a:sym typeface="Arial"/>
                </a:rPr>
                <a:t>Achievements</a:t>
              </a:r>
              <a:endParaRPr>
                <a:solidFill>
                  <a:schemeClr val="tx1"/>
                </a:solidFill>
              </a:endParaRPr>
            </a:p>
          </p:txBody>
        </p:sp>
        <p:sp>
          <p:nvSpPr>
            <p:cNvPr id="34" name="Google Shape;674;p19">
              <a:extLst>
                <a:ext uri="{FF2B5EF4-FFF2-40B4-BE49-F238E27FC236}">
                  <a16:creationId xmlns:a16="http://schemas.microsoft.com/office/drawing/2014/main" id="{206C098E-34A5-0150-5572-C52228CF8BEF}"/>
                </a:ext>
              </a:extLst>
            </p:cNvPr>
            <p:cNvSpPr/>
            <p:nvPr/>
          </p:nvSpPr>
          <p:spPr>
            <a:xfrm rot="14434">
              <a:off x="4824635" y="1934803"/>
              <a:ext cx="1128856" cy="938161"/>
            </a:xfrm>
            <a:custGeom>
              <a:avLst/>
              <a:gdLst/>
              <a:ahLst/>
              <a:cxnLst/>
              <a:rect l="l" t="t" r="r" b="b"/>
              <a:pathLst>
                <a:path w="1128856" h="938161" extrusionOk="0">
                  <a:moveTo>
                    <a:pt x="0" y="187632"/>
                  </a:moveTo>
                  <a:lnTo>
                    <a:pt x="659776" y="187632"/>
                  </a:lnTo>
                  <a:lnTo>
                    <a:pt x="659776" y="0"/>
                  </a:lnTo>
                  <a:lnTo>
                    <a:pt x="1128856" y="469081"/>
                  </a:lnTo>
                  <a:lnTo>
                    <a:pt x="659776" y="938161"/>
                  </a:lnTo>
                  <a:lnTo>
                    <a:pt x="659776" y="750529"/>
                  </a:lnTo>
                  <a:lnTo>
                    <a:pt x="0" y="750529"/>
                  </a:lnTo>
                  <a:lnTo>
                    <a:pt x="0" y="187632"/>
                  </a:lnTo>
                  <a:close/>
                </a:path>
              </a:pathLst>
            </a:custGeom>
            <a:solidFill>
              <a:srgbClr val="FECC17"/>
            </a:solidFill>
            <a:ln>
              <a:noFill/>
            </a:ln>
          </p:spPr>
          <p:txBody>
            <a:bodyPr spcFirstLastPara="1" wrap="square" lIns="0" tIns="187625" rIns="281425" bIns="187625" anchor="ctr" anchorCtr="0">
              <a:noAutofit/>
            </a:bodyPr>
            <a:lstStyle/>
            <a:p>
              <a:pPr marL="0" marR="0" lvl="0" indent="0" algn="ctr" rtl="0">
                <a:lnSpc>
                  <a:spcPct val="90000"/>
                </a:lnSpc>
                <a:spcBef>
                  <a:spcPts val="0"/>
                </a:spcBef>
                <a:spcAft>
                  <a:spcPts val="0"/>
                </a:spcAft>
                <a:buClr>
                  <a:schemeClr val="dk1"/>
                </a:buClr>
                <a:buSzPts val="1900"/>
                <a:buFont typeface="Arial"/>
                <a:buNone/>
              </a:pPr>
              <a:endParaRPr sz="1900">
                <a:solidFill>
                  <a:schemeClr val="lt1"/>
                </a:solidFill>
                <a:latin typeface="Arial"/>
                <a:ea typeface="Arial"/>
                <a:cs typeface="Arial"/>
                <a:sym typeface="Arial"/>
              </a:endParaRPr>
            </a:p>
          </p:txBody>
        </p:sp>
        <p:sp>
          <p:nvSpPr>
            <p:cNvPr id="35" name="Google Shape;675;p19">
              <a:extLst>
                <a:ext uri="{FF2B5EF4-FFF2-40B4-BE49-F238E27FC236}">
                  <a16:creationId xmlns:a16="http://schemas.microsoft.com/office/drawing/2014/main" id="{BA344405-CB3B-2839-3239-EB44ED19FE8A}"/>
                </a:ext>
              </a:extLst>
            </p:cNvPr>
            <p:cNvSpPr/>
            <p:nvPr/>
          </p:nvSpPr>
          <p:spPr>
            <a:xfrm>
              <a:off x="6287131" y="1930408"/>
              <a:ext cx="3768155" cy="994987"/>
            </a:xfrm>
            <a:custGeom>
              <a:avLst/>
              <a:gdLst/>
              <a:ahLst/>
              <a:cxnLst/>
              <a:rect l="l" t="t" r="r" b="b"/>
              <a:pathLst>
                <a:path w="3768155" h="915199" extrusionOk="0">
                  <a:moveTo>
                    <a:pt x="0" y="91520"/>
                  </a:moveTo>
                  <a:cubicBezTo>
                    <a:pt x="0" y="40975"/>
                    <a:pt x="40975" y="0"/>
                    <a:pt x="91520" y="0"/>
                  </a:cubicBezTo>
                  <a:lnTo>
                    <a:pt x="3676635" y="0"/>
                  </a:lnTo>
                  <a:cubicBezTo>
                    <a:pt x="3727180" y="0"/>
                    <a:pt x="3768155" y="40975"/>
                    <a:pt x="3768155" y="91520"/>
                  </a:cubicBezTo>
                  <a:lnTo>
                    <a:pt x="3768155" y="823679"/>
                  </a:lnTo>
                  <a:cubicBezTo>
                    <a:pt x="3768155" y="874224"/>
                    <a:pt x="3727180" y="915199"/>
                    <a:pt x="3676635" y="915199"/>
                  </a:cubicBezTo>
                  <a:lnTo>
                    <a:pt x="91520" y="915199"/>
                  </a:lnTo>
                  <a:cubicBezTo>
                    <a:pt x="40975" y="915199"/>
                    <a:pt x="0" y="874224"/>
                    <a:pt x="0" y="823679"/>
                  </a:cubicBezTo>
                  <a:lnTo>
                    <a:pt x="0" y="91520"/>
                  </a:lnTo>
                  <a:close/>
                </a:path>
              </a:pathLst>
            </a:custGeom>
            <a:solidFill>
              <a:srgbClr val="FECC17"/>
            </a:solidFill>
            <a:ln w="12700" cap="flat" cmpd="sng">
              <a:solidFill>
                <a:schemeClr val="lt1"/>
              </a:solidFill>
              <a:prstDash val="solid"/>
              <a:miter lim="800000"/>
              <a:headEnd type="none" w="sm" len="sm"/>
              <a:tailEnd type="none" w="sm" len="sm"/>
            </a:ln>
          </p:spPr>
          <p:txBody>
            <a:bodyPr spcFirstLastPara="1" wrap="square" lIns="170675" tIns="170675" rIns="170675" bIns="39650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GB" sz="2400">
                  <a:solidFill>
                    <a:schemeClr val="tx1"/>
                  </a:solidFill>
                  <a:latin typeface="Arial"/>
                  <a:ea typeface="Arial"/>
                  <a:cs typeface="Arial"/>
                  <a:sym typeface="Arial"/>
                </a:rPr>
                <a:t>Skills</a:t>
              </a:r>
              <a:endParaRPr>
                <a:solidFill>
                  <a:schemeClr val="tx1"/>
                </a:solidFill>
              </a:endParaRPr>
            </a:p>
          </p:txBody>
        </p:sp>
        <p:sp>
          <p:nvSpPr>
            <p:cNvPr id="36" name="Google Shape;676;p19">
              <a:extLst>
                <a:ext uri="{FF2B5EF4-FFF2-40B4-BE49-F238E27FC236}">
                  <a16:creationId xmlns:a16="http://schemas.microsoft.com/office/drawing/2014/main" id="{C5DA7A9E-19E5-30BB-47C7-419D76FEF1E8}"/>
                </a:ext>
              </a:extLst>
            </p:cNvPr>
            <p:cNvSpPr/>
            <p:nvPr/>
          </p:nvSpPr>
          <p:spPr>
            <a:xfrm>
              <a:off x="6996155" y="2317385"/>
              <a:ext cx="3768155" cy="2283126"/>
            </a:xfrm>
            <a:custGeom>
              <a:avLst/>
              <a:gdLst/>
              <a:ahLst/>
              <a:cxnLst/>
              <a:rect l="l" t="t" r="r" b="b"/>
              <a:pathLst>
                <a:path w="3768155" h="2268000" extrusionOk="0">
                  <a:moveTo>
                    <a:pt x="0" y="226800"/>
                  </a:moveTo>
                  <a:cubicBezTo>
                    <a:pt x="0" y="101542"/>
                    <a:pt x="101542" y="0"/>
                    <a:pt x="226800" y="0"/>
                  </a:cubicBezTo>
                  <a:lnTo>
                    <a:pt x="3541355" y="0"/>
                  </a:lnTo>
                  <a:cubicBezTo>
                    <a:pt x="3666613" y="0"/>
                    <a:pt x="3768155" y="101542"/>
                    <a:pt x="3768155" y="226800"/>
                  </a:cubicBezTo>
                  <a:lnTo>
                    <a:pt x="3768155" y="2041200"/>
                  </a:lnTo>
                  <a:cubicBezTo>
                    <a:pt x="3768155" y="2166458"/>
                    <a:pt x="3666613" y="2268000"/>
                    <a:pt x="3541355" y="2268000"/>
                  </a:cubicBezTo>
                  <a:lnTo>
                    <a:pt x="226800" y="2268000"/>
                  </a:lnTo>
                  <a:cubicBezTo>
                    <a:pt x="101542" y="2268000"/>
                    <a:pt x="0" y="2166458"/>
                    <a:pt x="0" y="2041200"/>
                  </a:cubicBezTo>
                  <a:lnTo>
                    <a:pt x="0" y="226800"/>
                  </a:lnTo>
                  <a:close/>
                </a:path>
              </a:pathLst>
            </a:custGeom>
            <a:solidFill>
              <a:schemeClr val="lt1">
                <a:alpha val="89803"/>
              </a:schemeClr>
            </a:solidFill>
            <a:ln w="12700" cap="flat" cmpd="sng">
              <a:solidFill>
                <a:srgbClr val="FECC17"/>
              </a:solidFill>
              <a:prstDash val="solid"/>
              <a:miter lim="800000"/>
              <a:headEnd type="none" w="sm" len="sm"/>
              <a:tailEnd type="none" w="sm" len="sm"/>
            </a:ln>
          </p:spPr>
          <p:txBody>
            <a:bodyPr spcFirstLastPara="1" wrap="square" lIns="237100" tIns="237100" rIns="237100" bIns="237100" anchor="t" anchorCtr="0">
              <a:noAutofit/>
            </a:bodyPr>
            <a:lstStyle/>
            <a:p>
              <a:pPr marL="228600" marR="0" lvl="1" indent="-228600" algn="l" rtl="0">
                <a:lnSpc>
                  <a:spcPct val="90000"/>
                </a:lnSpc>
                <a:spcBef>
                  <a:spcPts val="0"/>
                </a:spcBef>
                <a:spcAft>
                  <a:spcPts val="0"/>
                </a:spcAft>
                <a:buClr>
                  <a:schemeClr val="dk1"/>
                </a:buClr>
                <a:buSzPts val="2400"/>
                <a:buFont typeface="Arial"/>
                <a:buChar char="•"/>
              </a:pPr>
              <a:endParaRPr/>
            </a:p>
          </p:txBody>
        </p:sp>
        <p:sp>
          <p:nvSpPr>
            <p:cNvPr id="37" name="Google Shape;676;p19">
              <a:extLst>
                <a:ext uri="{FF2B5EF4-FFF2-40B4-BE49-F238E27FC236}">
                  <a16:creationId xmlns:a16="http://schemas.microsoft.com/office/drawing/2014/main" id="{9E1E0129-ECCC-B4FA-A541-1976B2506479}"/>
                </a:ext>
              </a:extLst>
            </p:cNvPr>
            <p:cNvSpPr/>
            <p:nvPr/>
          </p:nvSpPr>
          <p:spPr>
            <a:xfrm>
              <a:off x="992102" y="2469221"/>
              <a:ext cx="3768155" cy="2128979"/>
            </a:xfrm>
            <a:custGeom>
              <a:avLst/>
              <a:gdLst/>
              <a:ahLst/>
              <a:cxnLst/>
              <a:rect l="l" t="t" r="r" b="b"/>
              <a:pathLst>
                <a:path w="3768155" h="2268000" extrusionOk="0">
                  <a:moveTo>
                    <a:pt x="0" y="226800"/>
                  </a:moveTo>
                  <a:cubicBezTo>
                    <a:pt x="0" y="101542"/>
                    <a:pt x="101542" y="0"/>
                    <a:pt x="226800" y="0"/>
                  </a:cubicBezTo>
                  <a:lnTo>
                    <a:pt x="3541355" y="0"/>
                  </a:lnTo>
                  <a:cubicBezTo>
                    <a:pt x="3666613" y="0"/>
                    <a:pt x="3768155" y="101542"/>
                    <a:pt x="3768155" y="226800"/>
                  </a:cubicBezTo>
                  <a:lnTo>
                    <a:pt x="3768155" y="2041200"/>
                  </a:lnTo>
                  <a:cubicBezTo>
                    <a:pt x="3768155" y="2166458"/>
                    <a:pt x="3666613" y="2268000"/>
                    <a:pt x="3541355" y="2268000"/>
                  </a:cubicBezTo>
                  <a:lnTo>
                    <a:pt x="226800" y="2268000"/>
                  </a:lnTo>
                  <a:cubicBezTo>
                    <a:pt x="101542" y="2268000"/>
                    <a:pt x="0" y="2166458"/>
                    <a:pt x="0" y="2041200"/>
                  </a:cubicBezTo>
                  <a:lnTo>
                    <a:pt x="0" y="226800"/>
                  </a:lnTo>
                  <a:close/>
                </a:path>
              </a:pathLst>
            </a:custGeom>
            <a:solidFill>
              <a:schemeClr val="lt1">
                <a:alpha val="89803"/>
              </a:schemeClr>
            </a:solidFill>
            <a:ln w="12700" cap="flat" cmpd="sng">
              <a:solidFill>
                <a:srgbClr val="FECC17"/>
              </a:solidFill>
              <a:prstDash val="solid"/>
              <a:miter lim="800000"/>
              <a:headEnd type="none" w="sm" len="sm"/>
              <a:tailEnd type="none" w="sm" len="sm"/>
            </a:ln>
          </p:spPr>
          <p:txBody>
            <a:bodyPr spcFirstLastPara="1" wrap="square" lIns="237100" tIns="237100" rIns="237100" bIns="237100" anchor="t" anchorCtr="0">
              <a:noAutofit/>
            </a:bodyPr>
            <a:lstStyle/>
            <a:p>
              <a:pPr marL="0" marR="0" lvl="1" algn="l" rtl="0">
                <a:lnSpc>
                  <a:spcPct val="90000"/>
                </a:lnSpc>
                <a:spcBef>
                  <a:spcPts val="0"/>
                </a:spcBef>
                <a:spcAft>
                  <a:spcPts val="0"/>
                </a:spcAft>
                <a:buClr>
                  <a:schemeClr val="dk1"/>
                </a:buClr>
                <a:buSzPts val="2400"/>
              </a:pPr>
              <a:endParaRPr/>
            </a:p>
          </p:txBody>
        </p:sp>
      </p:grpSp>
      <p:grpSp>
        <p:nvGrpSpPr>
          <p:cNvPr id="16" name="Google Shape;671;p19">
            <a:extLst>
              <a:ext uri="{FF2B5EF4-FFF2-40B4-BE49-F238E27FC236}">
                <a16:creationId xmlns:a16="http://schemas.microsoft.com/office/drawing/2014/main" id="{8C819887-20C0-4541-7500-043DBE7EE038}"/>
              </a:ext>
            </a:extLst>
          </p:cNvPr>
          <p:cNvGrpSpPr/>
          <p:nvPr/>
        </p:nvGrpSpPr>
        <p:grpSpPr>
          <a:xfrm>
            <a:off x="327143" y="1089720"/>
            <a:ext cx="10709215" cy="2670103"/>
            <a:chOff x="55095" y="1930408"/>
            <a:chExt cx="10709215" cy="2670103"/>
          </a:xfrm>
        </p:grpSpPr>
        <p:sp>
          <p:nvSpPr>
            <p:cNvPr id="38" name="Google Shape;672;p19">
              <a:extLst>
                <a:ext uri="{FF2B5EF4-FFF2-40B4-BE49-F238E27FC236}">
                  <a16:creationId xmlns:a16="http://schemas.microsoft.com/office/drawing/2014/main" id="{1E5B73E9-B97B-A4CC-DD13-15A41A1F7891}"/>
                </a:ext>
              </a:extLst>
            </p:cNvPr>
            <p:cNvSpPr/>
            <p:nvPr/>
          </p:nvSpPr>
          <p:spPr>
            <a:xfrm>
              <a:off x="55095" y="1968414"/>
              <a:ext cx="4102126" cy="887629"/>
            </a:xfrm>
            <a:custGeom>
              <a:avLst/>
              <a:gdLst/>
              <a:ahLst/>
              <a:cxnLst/>
              <a:rect l="l" t="t" r="r" b="b"/>
              <a:pathLst>
                <a:path w="4102126" h="887629" extrusionOk="0">
                  <a:moveTo>
                    <a:pt x="0" y="88763"/>
                  </a:moveTo>
                  <a:cubicBezTo>
                    <a:pt x="0" y="39741"/>
                    <a:pt x="39741" y="0"/>
                    <a:pt x="88763" y="0"/>
                  </a:cubicBezTo>
                  <a:lnTo>
                    <a:pt x="4013363" y="0"/>
                  </a:lnTo>
                  <a:cubicBezTo>
                    <a:pt x="4062385" y="0"/>
                    <a:pt x="4102126" y="39741"/>
                    <a:pt x="4102126" y="88763"/>
                  </a:cubicBezTo>
                  <a:lnTo>
                    <a:pt x="4102126" y="798866"/>
                  </a:lnTo>
                  <a:cubicBezTo>
                    <a:pt x="4102126" y="847888"/>
                    <a:pt x="4062385" y="887629"/>
                    <a:pt x="4013363" y="887629"/>
                  </a:cubicBezTo>
                  <a:lnTo>
                    <a:pt x="88763" y="887629"/>
                  </a:lnTo>
                  <a:cubicBezTo>
                    <a:pt x="39741" y="887629"/>
                    <a:pt x="0" y="847888"/>
                    <a:pt x="0" y="798866"/>
                  </a:cubicBezTo>
                  <a:lnTo>
                    <a:pt x="0" y="88763"/>
                  </a:lnTo>
                  <a:close/>
                </a:path>
              </a:pathLst>
            </a:custGeom>
            <a:solidFill>
              <a:srgbClr val="FECC17"/>
            </a:solidFill>
            <a:ln w="12700" cap="flat" cmpd="sng">
              <a:solidFill>
                <a:schemeClr val="lt1"/>
              </a:solidFill>
              <a:prstDash val="solid"/>
              <a:miter lim="800000"/>
              <a:headEnd type="none" w="sm" len="sm"/>
              <a:tailEnd type="none" w="sm" len="sm"/>
            </a:ln>
          </p:spPr>
          <p:txBody>
            <a:bodyPr spcFirstLastPara="1" wrap="square" lIns="170675" tIns="170675" rIns="170675" bIns="38730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GB" sz="2400">
                  <a:latin typeface="Arial"/>
                  <a:cs typeface="Arial"/>
                  <a:sym typeface="Arial"/>
                </a:rPr>
                <a:t>Achievements</a:t>
              </a:r>
              <a:endParaRPr>
                <a:solidFill>
                  <a:schemeClr val="tx1"/>
                </a:solidFill>
              </a:endParaRPr>
            </a:p>
          </p:txBody>
        </p:sp>
        <p:sp>
          <p:nvSpPr>
            <p:cNvPr id="39" name="Google Shape;674;p19">
              <a:extLst>
                <a:ext uri="{FF2B5EF4-FFF2-40B4-BE49-F238E27FC236}">
                  <a16:creationId xmlns:a16="http://schemas.microsoft.com/office/drawing/2014/main" id="{0FE3D48E-88F5-F7B3-8C23-38EA5645B832}"/>
                </a:ext>
              </a:extLst>
            </p:cNvPr>
            <p:cNvSpPr/>
            <p:nvPr/>
          </p:nvSpPr>
          <p:spPr>
            <a:xfrm rot="14434">
              <a:off x="4824635" y="1934803"/>
              <a:ext cx="1128856" cy="938161"/>
            </a:xfrm>
            <a:custGeom>
              <a:avLst/>
              <a:gdLst/>
              <a:ahLst/>
              <a:cxnLst/>
              <a:rect l="l" t="t" r="r" b="b"/>
              <a:pathLst>
                <a:path w="1128856" h="938161" extrusionOk="0">
                  <a:moveTo>
                    <a:pt x="0" y="187632"/>
                  </a:moveTo>
                  <a:lnTo>
                    <a:pt x="659776" y="187632"/>
                  </a:lnTo>
                  <a:lnTo>
                    <a:pt x="659776" y="0"/>
                  </a:lnTo>
                  <a:lnTo>
                    <a:pt x="1128856" y="469081"/>
                  </a:lnTo>
                  <a:lnTo>
                    <a:pt x="659776" y="938161"/>
                  </a:lnTo>
                  <a:lnTo>
                    <a:pt x="659776" y="750529"/>
                  </a:lnTo>
                  <a:lnTo>
                    <a:pt x="0" y="750529"/>
                  </a:lnTo>
                  <a:lnTo>
                    <a:pt x="0" y="187632"/>
                  </a:lnTo>
                  <a:close/>
                </a:path>
              </a:pathLst>
            </a:custGeom>
            <a:solidFill>
              <a:srgbClr val="FECC17"/>
            </a:solidFill>
            <a:ln>
              <a:noFill/>
            </a:ln>
          </p:spPr>
          <p:txBody>
            <a:bodyPr spcFirstLastPara="1" wrap="square" lIns="0" tIns="187625" rIns="281425" bIns="187625" anchor="ctr" anchorCtr="0">
              <a:noAutofit/>
            </a:bodyPr>
            <a:lstStyle/>
            <a:p>
              <a:pPr marL="0" marR="0" lvl="0" indent="0" algn="ctr" rtl="0">
                <a:lnSpc>
                  <a:spcPct val="90000"/>
                </a:lnSpc>
                <a:spcBef>
                  <a:spcPts val="0"/>
                </a:spcBef>
                <a:spcAft>
                  <a:spcPts val="0"/>
                </a:spcAft>
                <a:buClr>
                  <a:schemeClr val="dk1"/>
                </a:buClr>
                <a:buSzPts val="1900"/>
                <a:buFont typeface="Arial"/>
                <a:buNone/>
              </a:pPr>
              <a:endParaRPr sz="1900">
                <a:solidFill>
                  <a:schemeClr val="lt1"/>
                </a:solidFill>
                <a:latin typeface="Arial"/>
                <a:ea typeface="Arial"/>
                <a:cs typeface="Arial"/>
                <a:sym typeface="Arial"/>
              </a:endParaRPr>
            </a:p>
          </p:txBody>
        </p:sp>
        <p:sp>
          <p:nvSpPr>
            <p:cNvPr id="40" name="Google Shape;675;p19">
              <a:extLst>
                <a:ext uri="{FF2B5EF4-FFF2-40B4-BE49-F238E27FC236}">
                  <a16:creationId xmlns:a16="http://schemas.microsoft.com/office/drawing/2014/main" id="{B6EEAC79-6C25-2D5A-BEA1-4672B72E2216}"/>
                </a:ext>
              </a:extLst>
            </p:cNvPr>
            <p:cNvSpPr/>
            <p:nvPr/>
          </p:nvSpPr>
          <p:spPr>
            <a:xfrm>
              <a:off x="6287131" y="1930408"/>
              <a:ext cx="3768155" cy="994987"/>
            </a:xfrm>
            <a:custGeom>
              <a:avLst/>
              <a:gdLst/>
              <a:ahLst/>
              <a:cxnLst/>
              <a:rect l="l" t="t" r="r" b="b"/>
              <a:pathLst>
                <a:path w="3768155" h="915199" extrusionOk="0">
                  <a:moveTo>
                    <a:pt x="0" y="91520"/>
                  </a:moveTo>
                  <a:cubicBezTo>
                    <a:pt x="0" y="40975"/>
                    <a:pt x="40975" y="0"/>
                    <a:pt x="91520" y="0"/>
                  </a:cubicBezTo>
                  <a:lnTo>
                    <a:pt x="3676635" y="0"/>
                  </a:lnTo>
                  <a:cubicBezTo>
                    <a:pt x="3727180" y="0"/>
                    <a:pt x="3768155" y="40975"/>
                    <a:pt x="3768155" y="91520"/>
                  </a:cubicBezTo>
                  <a:lnTo>
                    <a:pt x="3768155" y="823679"/>
                  </a:lnTo>
                  <a:cubicBezTo>
                    <a:pt x="3768155" y="874224"/>
                    <a:pt x="3727180" y="915199"/>
                    <a:pt x="3676635" y="915199"/>
                  </a:cubicBezTo>
                  <a:lnTo>
                    <a:pt x="91520" y="915199"/>
                  </a:lnTo>
                  <a:cubicBezTo>
                    <a:pt x="40975" y="915199"/>
                    <a:pt x="0" y="874224"/>
                    <a:pt x="0" y="823679"/>
                  </a:cubicBezTo>
                  <a:lnTo>
                    <a:pt x="0" y="91520"/>
                  </a:lnTo>
                  <a:close/>
                </a:path>
              </a:pathLst>
            </a:custGeom>
            <a:solidFill>
              <a:srgbClr val="FECC17"/>
            </a:solidFill>
            <a:ln w="12700" cap="flat" cmpd="sng">
              <a:solidFill>
                <a:schemeClr val="lt1"/>
              </a:solidFill>
              <a:prstDash val="solid"/>
              <a:miter lim="800000"/>
              <a:headEnd type="none" w="sm" len="sm"/>
              <a:tailEnd type="none" w="sm" len="sm"/>
            </a:ln>
          </p:spPr>
          <p:txBody>
            <a:bodyPr spcFirstLastPara="1" wrap="square" lIns="170675" tIns="170675" rIns="170675" bIns="39650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GB" sz="2400">
                  <a:solidFill>
                    <a:schemeClr val="tx1"/>
                  </a:solidFill>
                  <a:latin typeface="Arial"/>
                  <a:ea typeface="Arial"/>
                  <a:cs typeface="Arial"/>
                  <a:sym typeface="Arial"/>
                </a:rPr>
                <a:t>Skills</a:t>
              </a:r>
              <a:endParaRPr>
                <a:solidFill>
                  <a:schemeClr val="tx1"/>
                </a:solidFill>
              </a:endParaRPr>
            </a:p>
          </p:txBody>
        </p:sp>
        <p:sp>
          <p:nvSpPr>
            <p:cNvPr id="41" name="Google Shape;676;p19">
              <a:extLst>
                <a:ext uri="{FF2B5EF4-FFF2-40B4-BE49-F238E27FC236}">
                  <a16:creationId xmlns:a16="http://schemas.microsoft.com/office/drawing/2014/main" id="{8684B17C-806D-70FF-85B6-B51F4AA8E6AF}"/>
                </a:ext>
              </a:extLst>
            </p:cNvPr>
            <p:cNvSpPr/>
            <p:nvPr/>
          </p:nvSpPr>
          <p:spPr>
            <a:xfrm>
              <a:off x="6996155" y="2317385"/>
              <a:ext cx="3768155" cy="2283126"/>
            </a:xfrm>
            <a:custGeom>
              <a:avLst/>
              <a:gdLst/>
              <a:ahLst/>
              <a:cxnLst/>
              <a:rect l="l" t="t" r="r" b="b"/>
              <a:pathLst>
                <a:path w="3768155" h="2268000" extrusionOk="0">
                  <a:moveTo>
                    <a:pt x="0" y="226800"/>
                  </a:moveTo>
                  <a:cubicBezTo>
                    <a:pt x="0" y="101542"/>
                    <a:pt x="101542" y="0"/>
                    <a:pt x="226800" y="0"/>
                  </a:cubicBezTo>
                  <a:lnTo>
                    <a:pt x="3541355" y="0"/>
                  </a:lnTo>
                  <a:cubicBezTo>
                    <a:pt x="3666613" y="0"/>
                    <a:pt x="3768155" y="101542"/>
                    <a:pt x="3768155" y="226800"/>
                  </a:cubicBezTo>
                  <a:lnTo>
                    <a:pt x="3768155" y="2041200"/>
                  </a:lnTo>
                  <a:cubicBezTo>
                    <a:pt x="3768155" y="2166458"/>
                    <a:pt x="3666613" y="2268000"/>
                    <a:pt x="3541355" y="2268000"/>
                  </a:cubicBezTo>
                  <a:lnTo>
                    <a:pt x="226800" y="2268000"/>
                  </a:lnTo>
                  <a:cubicBezTo>
                    <a:pt x="101542" y="2268000"/>
                    <a:pt x="0" y="2166458"/>
                    <a:pt x="0" y="2041200"/>
                  </a:cubicBezTo>
                  <a:lnTo>
                    <a:pt x="0" y="226800"/>
                  </a:lnTo>
                  <a:close/>
                </a:path>
              </a:pathLst>
            </a:custGeom>
            <a:solidFill>
              <a:schemeClr val="lt1">
                <a:alpha val="89803"/>
              </a:schemeClr>
            </a:solidFill>
            <a:ln w="12700" cap="flat" cmpd="sng">
              <a:solidFill>
                <a:srgbClr val="FECC17"/>
              </a:solidFill>
              <a:prstDash val="solid"/>
              <a:miter lim="800000"/>
              <a:headEnd type="none" w="sm" len="sm"/>
              <a:tailEnd type="none" w="sm" len="sm"/>
            </a:ln>
          </p:spPr>
          <p:txBody>
            <a:bodyPr spcFirstLastPara="1" wrap="square" lIns="237100" tIns="237100" rIns="237100" bIns="237100" anchor="t" anchorCtr="0">
              <a:noAutofit/>
            </a:bodyPr>
            <a:lstStyle/>
            <a:p>
              <a:pPr marL="228600" marR="0" lvl="1" indent="-228600" algn="l" rtl="0">
                <a:lnSpc>
                  <a:spcPct val="90000"/>
                </a:lnSpc>
                <a:spcBef>
                  <a:spcPts val="0"/>
                </a:spcBef>
                <a:spcAft>
                  <a:spcPts val="0"/>
                </a:spcAft>
                <a:buClr>
                  <a:schemeClr val="dk1"/>
                </a:buClr>
                <a:buSzPts val="2400"/>
                <a:buFont typeface="Arial"/>
                <a:buChar char="•"/>
              </a:pPr>
              <a:endParaRPr/>
            </a:p>
          </p:txBody>
        </p:sp>
        <p:sp>
          <p:nvSpPr>
            <p:cNvPr id="42" name="Google Shape;676;p19">
              <a:extLst>
                <a:ext uri="{FF2B5EF4-FFF2-40B4-BE49-F238E27FC236}">
                  <a16:creationId xmlns:a16="http://schemas.microsoft.com/office/drawing/2014/main" id="{B3E40AE1-2B24-F06E-8A98-9DC7A3AEDF0C}"/>
                </a:ext>
              </a:extLst>
            </p:cNvPr>
            <p:cNvSpPr/>
            <p:nvPr/>
          </p:nvSpPr>
          <p:spPr>
            <a:xfrm>
              <a:off x="992102" y="2469221"/>
              <a:ext cx="3768155" cy="2128979"/>
            </a:xfrm>
            <a:custGeom>
              <a:avLst/>
              <a:gdLst/>
              <a:ahLst/>
              <a:cxnLst/>
              <a:rect l="l" t="t" r="r" b="b"/>
              <a:pathLst>
                <a:path w="3768155" h="2268000" extrusionOk="0">
                  <a:moveTo>
                    <a:pt x="0" y="226800"/>
                  </a:moveTo>
                  <a:cubicBezTo>
                    <a:pt x="0" y="101542"/>
                    <a:pt x="101542" y="0"/>
                    <a:pt x="226800" y="0"/>
                  </a:cubicBezTo>
                  <a:lnTo>
                    <a:pt x="3541355" y="0"/>
                  </a:lnTo>
                  <a:cubicBezTo>
                    <a:pt x="3666613" y="0"/>
                    <a:pt x="3768155" y="101542"/>
                    <a:pt x="3768155" y="226800"/>
                  </a:cubicBezTo>
                  <a:lnTo>
                    <a:pt x="3768155" y="2041200"/>
                  </a:lnTo>
                  <a:cubicBezTo>
                    <a:pt x="3768155" y="2166458"/>
                    <a:pt x="3666613" y="2268000"/>
                    <a:pt x="3541355" y="2268000"/>
                  </a:cubicBezTo>
                  <a:lnTo>
                    <a:pt x="226800" y="2268000"/>
                  </a:lnTo>
                  <a:cubicBezTo>
                    <a:pt x="101542" y="2268000"/>
                    <a:pt x="0" y="2166458"/>
                    <a:pt x="0" y="2041200"/>
                  </a:cubicBezTo>
                  <a:lnTo>
                    <a:pt x="0" y="226800"/>
                  </a:lnTo>
                  <a:close/>
                </a:path>
              </a:pathLst>
            </a:custGeom>
            <a:solidFill>
              <a:schemeClr val="lt1">
                <a:alpha val="89803"/>
              </a:schemeClr>
            </a:solidFill>
            <a:ln w="12700" cap="flat" cmpd="sng">
              <a:solidFill>
                <a:srgbClr val="FECC17"/>
              </a:solidFill>
              <a:prstDash val="solid"/>
              <a:miter lim="800000"/>
              <a:headEnd type="none" w="sm" len="sm"/>
              <a:tailEnd type="none" w="sm" len="sm"/>
            </a:ln>
          </p:spPr>
          <p:txBody>
            <a:bodyPr spcFirstLastPara="1" wrap="square" lIns="237100" tIns="237100" rIns="237100" bIns="237100" anchor="t" anchorCtr="0">
              <a:noAutofit/>
            </a:bodyPr>
            <a:lstStyle/>
            <a:p>
              <a:pPr marL="0" marR="0" lvl="1" algn="l" rtl="0">
                <a:lnSpc>
                  <a:spcPct val="90000"/>
                </a:lnSpc>
                <a:spcBef>
                  <a:spcPts val="0"/>
                </a:spcBef>
                <a:spcAft>
                  <a:spcPts val="0"/>
                </a:spcAft>
                <a:buClr>
                  <a:schemeClr val="dk1"/>
                </a:buClr>
                <a:buSzPts val="2400"/>
              </a:pPr>
              <a:endParaRPr/>
            </a:p>
          </p:txBody>
        </p:sp>
      </p:grpSp>
      <p:sp>
        <p:nvSpPr>
          <p:cNvPr id="4" name="Slide Number Placeholder 3">
            <a:extLst>
              <a:ext uri="{FF2B5EF4-FFF2-40B4-BE49-F238E27FC236}">
                <a16:creationId xmlns:a16="http://schemas.microsoft.com/office/drawing/2014/main" id="{CB423298-2A12-BCFB-E23C-FDA5D2B30CF6}"/>
              </a:ext>
            </a:extLst>
          </p:cNvPr>
          <p:cNvSpPr>
            <a:spLocks noGrp="1"/>
          </p:cNvSpPr>
          <p:nvPr>
            <p:ph type="sldNum" sz="quarter" idx="12"/>
          </p:nvPr>
        </p:nvSpPr>
        <p:spPr/>
        <p:txBody>
          <a:bodyPr/>
          <a:lstStyle/>
          <a:p>
            <a:fld id="{E112F761-781A-4F50-9DEE-CC804A409563}" type="slidenum">
              <a:rPr lang="nl-NL" smtClean="0"/>
              <a:pPr/>
              <a:t>10</a:t>
            </a:fld>
            <a:endParaRPr lang="nl-NL"/>
          </a:p>
        </p:txBody>
      </p:sp>
    </p:spTree>
    <p:extLst>
      <p:ext uri="{BB962C8B-B14F-4D97-AF65-F5344CB8AC3E}">
        <p14:creationId xmlns:p14="http://schemas.microsoft.com/office/powerpoint/2010/main" val="3424008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13EF7-E0C1-C8F4-2CA0-AEE3DE5CF4B0}"/>
              </a:ext>
            </a:extLst>
          </p:cNvPr>
          <p:cNvSpPr>
            <a:spLocks noGrp="1"/>
          </p:cNvSpPr>
          <p:nvPr>
            <p:ph type="title"/>
          </p:nvPr>
        </p:nvSpPr>
        <p:spPr/>
        <p:txBody>
          <a:bodyPr/>
          <a:lstStyle/>
          <a:p>
            <a:r>
              <a:rPr lang="en-US"/>
              <a:t>WRITE YOUR CV</a:t>
            </a:r>
          </a:p>
        </p:txBody>
      </p:sp>
      <p:sp>
        <p:nvSpPr>
          <p:cNvPr id="3" name="Text Placeholder 2">
            <a:extLst>
              <a:ext uri="{FF2B5EF4-FFF2-40B4-BE49-F238E27FC236}">
                <a16:creationId xmlns:a16="http://schemas.microsoft.com/office/drawing/2014/main" id="{71F8702A-8137-5837-F31F-E1603C466283}"/>
              </a:ext>
            </a:extLst>
          </p:cNvPr>
          <p:cNvSpPr>
            <a:spLocks noGrp="1"/>
          </p:cNvSpPr>
          <p:nvPr>
            <p:ph type="body" sz="quarter" idx="10"/>
          </p:nvPr>
        </p:nvSpPr>
        <p:spPr/>
        <p:txBody>
          <a:bodyPr/>
          <a:lstStyle/>
          <a:p>
            <a:r>
              <a:rPr lang="en-US"/>
              <a:t>Individual activity</a:t>
            </a:r>
          </a:p>
        </p:txBody>
      </p:sp>
      <p:sp>
        <p:nvSpPr>
          <p:cNvPr id="4" name="Text Placeholder 3">
            <a:extLst>
              <a:ext uri="{FF2B5EF4-FFF2-40B4-BE49-F238E27FC236}">
                <a16:creationId xmlns:a16="http://schemas.microsoft.com/office/drawing/2014/main" id="{DE2CE4B0-7495-FB4F-57B5-69B75624F3DA}"/>
              </a:ext>
            </a:extLst>
          </p:cNvPr>
          <p:cNvSpPr>
            <a:spLocks noGrp="1"/>
          </p:cNvSpPr>
          <p:nvPr>
            <p:ph type="body" sz="quarter" idx="11"/>
          </p:nvPr>
        </p:nvSpPr>
        <p:spPr/>
        <p:txBody>
          <a:bodyPr/>
          <a:lstStyle/>
          <a:p>
            <a:r>
              <a:rPr lang="en-US"/>
              <a:t>30 minutes</a:t>
            </a:r>
          </a:p>
        </p:txBody>
      </p:sp>
      <p:sp>
        <p:nvSpPr>
          <p:cNvPr id="5" name="Text Placeholder 4">
            <a:extLst>
              <a:ext uri="{FF2B5EF4-FFF2-40B4-BE49-F238E27FC236}">
                <a16:creationId xmlns:a16="http://schemas.microsoft.com/office/drawing/2014/main" id="{E79BE60A-CDBD-869C-4683-207046B2F5B7}"/>
              </a:ext>
            </a:extLst>
          </p:cNvPr>
          <p:cNvSpPr>
            <a:spLocks noGrp="1"/>
          </p:cNvSpPr>
          <p:nvPr>
            <p:ph type="body" sz="quarter" idx="12"/>
          </p:nvPr>
        </p:nvSpPr>
        <p:spPr>
          <a:xfrm>
            <a:off x="1879600" y="2963177"/>
            <a:ext cx="7745663" cy="1547004"/>
          </a:xfrm>
        </p:spPr>
        <p:txBody>
          <a:bodyPr/>
          <a:lstStyle/>
          <a:p>
            <a:pPr marL="342900" indent="-342900" algn="l">
              <a:buFont typeface="Arial" panose="020B0604020202020204" pitchFamily="34" charset="0"/>
              <a:buChar char="•"/>
            </a:pPr>
            <a:r>
              <a:rPr lang="en-US">
                <a:solidFill>
                  <a:srgbClr val="444444"/>
                </a:solidFill>
              </a:rPr>
              <a:t>Use your workbook</a:t>
            </a:r>
          </a:p>
          <a:p>
            <a:pPr marL="342900" indent="-342900" algn="l">
              <a:buFont typeface="Arial" panose="020B0604020202020204" pitchFamily="34" charset="0"/>
              <a:buChar char="•"/>
            </a:pPr>
            <a:r>
              <a:rPr lang="en-US">
                <a:solidFill>
                  <a:srgbClr val="444444"/>
                </a:solidFill>
              </a:rPr>
              <a:t>Complete the elements of the CV</a:t>
            </a:r>
            <a:endParaRPr lang="en-US" b="0" i="0">
              <a:solidFill>
                <a:srgbClr val="444444"/>
              </a:solidFill>
              <a:effectLst/>
            </a:endParaRPr>
          </a:p>
        </p:txBody>
      </p:sp>
      <p:sp>
        <p:nvSpPr>
          <p:cNvPr id="6" name="Slide Number Placeholder 5">
            <a:extLst>
              <a:ext uri="{FF2B5EF4-FFF2-40B4-BE49-F238E27FC236}">
                <a16:creationId xmlns:a16="http://schemas.microsoft.com/office/drawing/2014/main" id="{98B64B20-C463-AAA5-804F-B19950B15DAA}"/>
              </a:ext>
            </a:extLst>
          </p:cNvPr>
          <p:cNvSpPr>
            <a:spLocks noGrp="1"/>
          </p:cNvSpPr>
          <p:nvPr>
            <p:ph type="sldNum" sz="quarter" idx="13"/>
          </p:nvPr>
        </p:nvSpPr>
        <p:spPr/>
        <p:txBody>
          <a:bodyPr/>
          <a:lstStyle/>
          <a:p>
            <a:fld id="{CC62790A-B937-4AF6-AB00-7B0D9DC7434B}" type="slidenum">
              <a:rPr lang="nl-NL" smtClean="0"/>
              <a:pPr/>
              <a:t>11</a:t>
            </a:fld>
            <a:endParaRPr lang="nl-NL"/>
          </a:p>
        </p:txBody>
      </p:sp>
    </p:spTree>
    <p:extLst>
      <p:ext uri="{BB962C8B-B14F-4D97-AF65-F5344CB8AC3E}">
        <p14:creationId xmlns:p14="http://schemas.microsoft.com/office/powerpoint/2010/main" val="7275058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91321-AA6E-B2DF-480E-82A3995BA24D}"/>
              </a:ext>
            </a:extLst>
          </p:cNvPr>
          <p:cNvSpPr>
            <a:spLocks noGrp="1"/>
          </p:cNvSpPr>
          <p:nvPr>
            <p:ph type="title"/>
          </p:nvPr>
        </p:nvSpPr>
        <p:spPr/>
        <p:txBody>
          <a:bodyPr>
            <a:normAutofit/>
          </a:bodyPr>
          <a:lstStyle/>
          <a:p>
            <a:r>
              <a:rPr lang="en-US"/>
              <a:t>WHAT SHOULD BE INCLUDED IN A CV?</a:t>
            </a:r>
          </a:p>
        </p:txBody>
      </p:sp>
      <p:sp>
        <p:nvSpPr>
          <p:cNvPr id="3" name="Google Shape;614;p15">
            <a:extLst>
              <a:ext uri="{FF2B5EF4-FFF2-40B4-BE49-F238E27FC236}">
                <a16:creationId xmlns:a16="http://schemas.microsoft.com/office/drawing/2014/main" id="{3CF80C6A-0A01-1E5B-D650-BF3985D7DC6A}"/>
              </a:ext>
            </a:extLst>
          </p:cNvPr>
          <p:cNvSpPr/>
          <p:nvPr/>
        </p:nvSpPr>
        <p:spPr>
          <a:xfrm>
            <a:off x="8214567" y="839218"/>
            <a:ext cx="3053136" cy="1688088"/>
          </a:xfrm>
          <a:prstGeom prst="roundRect">
            <a:avLst>
              <a:gd name="adj" fmla="val 16667"/>
            </a:avLst>
          </a:prstGeom>
          <a:solidFill>
            <a:schemeClr val="bg1"/>
          </a:solidFill>
          <a:ln w="28575"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b="1">
                <a:solidFill>
                  <a:schemeClr val="tx1"/>
                </a:solidFill>
                <a:latin typeface="Delivery" panose="020F0503020204020204" pitchFamily="34" charset="0"/>
                <a:ea typeface="Delivery" panose="020F0503020204020204" pitchFamily="34" charset="0"/>
                <a:cs typeface="Delivery" panose="020F0503020204020204" pitchFamily="34" charset="0"/>
                <a:sym typeface="Arial"/>
              </a:rPr>
              <a:t>Contact details</a:t>
            </a:r>
          </a:p>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sym typeface="Arial"/>
              </a:rPr>
              <a:t>Name*</a:t>
            </a:r>
          </a:p>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Address</a:t>
            </a:r>
          </a:p>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sym typeface="Arial"/>
              </a:rPr>
              <a:t>Phone number*</a:t>
            </a:r>
          </a:p>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sym typeface="Arial"/>
              </a:rPr>
              <a:t>Email address*</a:t>
            </a:r>
          </a:p>
        </p:txBody>
      </p:sp>
      <p:sp>
        <p:nvSpPr>
          <p:cNvPr id="4" name="Google Shape;615;p15">
            <a:extLst>
              <a:ext uri="{FF2B5EF4-FFF2-40B4-BE49-F238E27FC236}">
                <a16:creationId xmlns:a16="http://schemas.microsoft.com/office/drawing/2014/main" id="{45D8FA86-49B7-4EB9-4DB1-442410D62D04}"/>
              </a:ext>
            </a:extLst>
          </p:cNvPr>
          <p:cNvSpPr/>
          <p:nvPr/>
        </p:nvSpPr>
        <p:spPr>
          <a:xfrm>
            <a:off x="7783014" y="2871033"/>
            <a:ext cx="4246076" cy="931853"/>
          </a:xfrm>
          <a:prstGeom prst="roundRect">
            <a:avLst>
              <a:gd name="adj" fmla="val 16667"/>
            </a:avLst>
          </a:prstGeom>
          <a:solidFill>
            <a:schemeClr val="bg1"/>
          </a:solidFill>
          <a:ln w="28575"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Personal Statement*: 2/3 clear sentences about your overall experience and career aim (optional)</a:t>
            </a:r>
            <a:endParaRPr sz="180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sp>
        <p:nvSpPr>
          <p:cNvPr id="5" name="Google Shape;615;p15">
            <a:extLst>
              <a:ext uri="{FF2B5EF4-FFF2-40B4-BE49-F238E27FC236}">
                <a16:creationId xmlns:a16="http://schemas.microsoft.com/office/drawing/2014/main" id="{22C110CC-8618-9E59-14E6-890E7BAE6263}"/>
              </a:ext>
            </a:extLst>
          </p:cNvPr>
          <p:cNvSpPr/>
          <p:nvPr/>
        </p:nvSpPr>
        <p:spPr>
          <a:xfrm>
            <a:off x="1117014" y="2946903"/>
            <a:ext cx="1792679" cy="557967"/>
          </a:xfrm>
          <a:prstGeom prst="roundRect">
            <a:avLst>
              <a:gd name="adj" fmla="val 16667"/>
            </a:avLst>
          </a:prstGeom>
          <a:solidFill>
            <a:schemeClr val="bg1"/>
          </a:solidFill>
          <a:ln w="28575"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Education*</a:t>
            </a:r>
            <a:endParaRPr sz="180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sp>
        <p:nvSpPr>
          <p:cNvPr id="6" name="Google Shape;615;p15">
            <a:extLst>
              <a:ext uri="{FF2B5EF4-FFF2-40B4-BE49-F238E27FC236}">
                <a16:creationId xmlns:a16="http://schemas.microsoft.com/office/drawing/2014/main" id="{C9CD2B4C-20D8-394A-C4FB-2233D29D47FA}"/>
              </a:ext>
            </a:extLst>
          </p:cNvPr>
          <p:cNvSpPr/>
          <p:nvPr/>
        </p:nvSpPr>
        <p:spPr>
          <a:xfrm>
            <a:off x="8763554" y="4242355"/>
            <a:ext cx="2618570" cy="557967"/>
          </a:xfrm>
          <a:prstGeom prst="roundRect">
            <a:avLst>
              <a:gd name="adj" fmla="val 16667"/>
            </a:avLst>
          </a:prstGeom>
          <a:solidFill>
            <a:schemeClr val="bg1"/>
          </a:solidFill>
          <a:ln w="28575"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Work experience*</a:t>
            </a:r>
            <a:endParaRPr sz="180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sp>
        <p:nvSpPr>
          <p:cNvPr id="7" name="Google Shape;615;p15">
            <a:extLst>
              <a:ext uri="{FF2B5EF4-FFF2-40B4-BE49-F238E27FC236}">
                <a16:creationId xmlns:a16="http://schemas.microsoft.com/office/drawing/2014/main" id="{4CA6C15E-E55F-A065-92A4-99DE70FD0437}"/>
              </a:ext>
            </a:extLst>
          </p:cNvPr>
          <p:cNvSpPr/>
          <p:nvPr/>
        </p:nvSpPr>
        <p:spPr>
          <a:xfrm>
            <a:off x="2126414" y="972446"/>
            <a:ext cx="1499702" cy="720868"/>
          </a:xfrm>
          <a:prstGeom prst="roundRect">
            <a:avLst>
              <a:gd name="adj" fmla="val 16667"/>
            </a:avLst>
          </a:prstGeom>
          <a:solidFill>
            <a:schemeClr val="bg1"/>
          </a:solidFill>
          <a:ln w="28575"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Interests</a:t>
            </a:r>
          </a:p>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Hobbies</a:t>
            </a:r>
          </a:p>
        </p:txBody>
      </p:sp>
      <p:pic>
        <p:nvPicPr>
          <p:cNvPr id="8" name="Picture 7" descr="Graphical user interface, application&#10;&#10;Description automatically generated">
            <a:extLst>
              <a:ext uri="{FF2B5EF4-FFF2-40B4-BE49-F238E27FC236}">
                <a16:creationId xmlns:a16="http://schemas.microsoft.com/office/drawing/2014/main" id="{CDD8C090-C1D7-B340-E28C-94CE08DC9FDD}"/>
              </a:ext>
            </a:extLst>
          </p:cNvPr>
          <p:cNvPicPr>
            <a:picLocks noChangeAspect="1"/>
          </p:cNvPicPr>
          <p:nvPr/>
        </p:nvPicPr>
        <p:blipFill rotWithShape="1">
          <a:blip r:embed="rId3">
            <a:clrChange>
              <a:clrFrom>
                <a:srgbClr val="A2A3A5"/>
              </a:clrFrom>
              <a:clrTo>
                <a:srgbClr val="A2A3A5">
                  <a:alpha val="0"/>
                </a:srgbClr>
              </a:clrTo>
            </a:clrChange>
          </a:blip>
          <a:srcRect l="19680" t="7949" r="19852"/>
          <a:stretch/>
        </p:blipFill>
        <p:spPr>
          <a:xfrm>
            <a:off x="3760206" y="1085044"/>
            <a:ext cx="4045015" cy="6157728"/>
          </a:xfrm>
          <a:prstGeom prst="rect">
            <a:avLst/>
          </a:prstGeom>
        </p:spPr>
      </p:pic>
      <p:pic>
        <p:nvPicPr>
          <p:cNvPr id="9" name="Google Shape;421;p43">
            <a:extLst>
              <a:ext uri="{FF2B5EF4-FFF2-40B4-BE49-F238E27FC236}">
                <a16:creationId xmlns:a16="http://schemas.microsoft.com/office/drawing/2014/main" id="{9BD36E7C-1B96-DED8-6D4C-D1448128DD1C}"/>
              </a:ext>
            </a:extLst>
          </p:cNvPr>
          <p:cNvPicPr preferRelativeResize="0"/>
          <p:nvPr/>
        </p:nvPicPr>
        <p:blipFill>
          <a:blip r:embed="rId4">
            <a:alphaModFix amt="80000"/>
          </a:blip>
          <a:stretch>
            <a:fillRect/>
          </a:stretch>
        </p:blipFill>
        <p:spPr>
          <a:xfrm rot="20421438">
            <a:off x="7104258" y="1926163"/>
            <a:ext cx="896415" cy="377014"/>
          </a:xfrm>
          <a:prstGeom prst="rect">
            <a:avLst/>
          </a:prstGeom>
          <a:noFill/>
          <a:ln>
            <a:noFill/>
          </a:ln>
        </p:spPr>
      </p:pic>
      <p:pic>
        <p:nvPicPr>
          <p:cNvPr id="10" name="Google Shape;421;p43">
            <a:extLst>
              <a:ext uri="{FF2B5EF4-FFF2-40B4-BE49-F238E27FC236}">
                <a16:creationId xmlns:a16="http://schemas.microsoft.com/office/drawing/2014/main" id="{0C652A1D-0E0D-3AA7-66A2-7DCBD2C5A4AC}"/>
              </a:ext>
            </a:extLst>
          </p:cNvPr>
          <p:cNvPicPr preferRelativeResize="0"/>
          <p:nvPr/>
        </p:nvPicPr>
        <p:blipFill>
          <a:blip r:embed="rId4">
            <a:alphaModFix amt="80000"/>
          </a:blip>
          <a:stretch>
            <a:fillRect/>
          </a:stretch>
        </p:blipFill>
        <p:spPr>
          <a:xfrm rot="20421438">
            <a:off x="7073969" y="2753502"/>
            <a:ext cx="896415" cy="377014"/>
          </a:xfrm>
          <a:prstGeom prst="rect">
            <a:avLst/>
          </a:prstGeom>
          <a:noFill/>
          <a:ln>
            <a:noFill/>
          </a:ln>
        </p:spPr>
      </p:pic>
      <p:pic>
        <p:nvPicPr>
          <p:cNvPr id="11" name="Google Shape;421;p43">
            <a:extLst>
              <a:ext uri="{FF2B5EF4-FFF2-40B4-BE49-F238E27FC236}">
                <a16:creationId xmlns:a16="http://schemas.microsoft.com/office/drawing/2014/main" id="{4C1C2508-D00C-782C-F57F-D7E298B8A956}"/>
              </a:ext>
            </a:extLst>
          </p:cNvPr>
          <p:cNvPicPr preferRelativeResize="0"/>
          <p:nvPr/>
        </p:nvPicPr>
        <p:blipFill>
          <a:blip r:embed="rId4">
            <a:alphaModFix amt="80000"/>
          </a:blip>
          <a:stretch>
            <a:fillRect/>
          </a:stretch>
        </p:blipFill>
        <p:spPr>
          <a:xfrm rot="1351838">
            <a:off x="7604119" y="4225451"/>
            <a:ext cx="896415" cy="377014"/>
          </a:xfrm>
          <a:prstGeom prst="rect">
            <a:avLst/>
          </a:prstGeom>
          <a:noFill/>
          <a:ln>
            <a:noFill/>
          </a:ln>
        </p:spPr>
      </p:pic>
      <p:pic>
        <p:nvPicPr>
          <p:cNvPr id="12" name="Google Shape;421;p43">
            <a:extLst>
              <a:ext uri="{FF2B5EF4-FFF2-40B4-BE49-F238E27FC236}">
                <a16:creationId xmlns:a16="http://schemas.microsoft.com/office/drawing/2014/main" id="{AF242D37-D1E0-2F48-820B-0D56F864998E}"/>
              </a:ext>
            </a:extLst>
          </p:cNvPr>
          <p:cNvPicPr preferRelativeResize="0"/>
          <p:nvPr/>
        </p:nvPicPr>
        <p:blipFill>
          <a:blip r:embed="rId4">
            <a:alphaModFix amt="80000"/>
          </a:blip>
          <a:stretch>
            <a:fillRect/>
          </a:stretch>
        </p:blipFill>
        <p:spPr>
          <a:xfrm rot="12536618">
            <a:off x="3109551" y="2999655"/>
            <a:ext cx="896415" cy="377014"/>
          </a:xfrm>
          <a:prstGeom prst="rect">
            <a:avLst/>
          </a:prstGeom>
          <a:noFill/>
          <a:ln>
            <a:noFill/>
          </a:ln>
        </p:spPr>
      </p:pic>
      <p:sp>
        <p:nvSpPr>
          <p:cNvPr id="13" name="Google Shape;615;p15">
            <a:extLst>
              <a:ext uri="{FF2B5EF4-FFF2-40B4-BE49-F238E27FC236}">
                <a16:creationId xmlns:a16="http://schemas.microsoft.com/office/drawing/2014/main" id="{01FCE6C7-4158-CE83-07D9-B4976FA4BA18}"/>
              </a:ext>
            </a:extLst>
          </p:cNvPr>
          <p:cNvSpPr/>
          <p:nvPr/>
        </p:nvSpPr>
        <p:spPr>
          <a:xfrm>
            <a:off x="8462873" y="5460815"/>
            <a:ext cx="2618570" cy="557967"/>
          </a:xfrm>
          <a:prstGeom prst="roundRect">
            <a:avLst>
              <a:gd name="adj" fmla="val 16667"/>
            </a:avLst>
          </a:prstGeom>
          <a:solidFill>
            <a:schemeClr val="bg1"/>
          </a:solidFill>
          <a:ln w="28575"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Skills and achievements*</a:t>
            </a:r>
            <a:endParaRPr sz="180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pic>
        <p:nvPicPr>
          <p:cNvPr id="14" name="Google Shape;421;p43">
            <a:extLst>
              <a:ext uri="{FF2B5EF4-FFF2-40B4-BE49-F238E27FC236}">
                <a16:creationId xmlns:a16="http://schemas.microsoft.com/office/drawing/2014/main" id="{982F60D0-2570-6371-C75C-4DDD39194B97}"/>
              </a:ext>
            </a:extLst>
          </p:cNvPr>
          <p:cNvPicPr preferRelativeResize="0"/>
          <p:nvPr/>
        </p:nvPicPr>
        <p:blipFill>
          <a:blip r:embed="rId4">
            <a:alphaModFix amt="80000"/>
          </a:blip>
          <a:stretch>
            <a:fillRect/>
          </a:stretch>
        </p:blipFill>
        <p:spPr>
          <a:xfrm rot="20421438">
            <a:off x="7458238" y="5630671"/>
            <a:ext cx="896415" cy="377014"/>
          </a:xfrm>
          <a:prstGeom prst="rect">
            <a:avLst/>
          </a:prstGeom>
          <a:noFill/>
          <a:ln>
            <a:noFill/>
          </a:ln>
        </p:spPr>
      </p:pic>
      <p:sp>
        <p:nvSpPr>
          <p:cNvPr id="15" name="Google Shape;615;p15">
            <a:extLst>
              <a:ext uri="{FF2B5EF4-FFF2-40B4-BE49-F238E27FC236}">
                <a16:creationId xmlns:a16="http://schemas.microsoft.com/office/drawing/2014/main" id="{3EF2E678-F386-FFBF-24D6-E0FC969DE147}"/>
              </a:ext>
            </a:extLst>
          </p:cNvPr>
          <p:cNvSpPr/>
          <p:nvPr/>
        </p:nvSpPr>
        <p:spPr>
          <a:xfrm>
            <a:off x="372979" y="4874493"/>
            <a:ext cx="2712375" cy="1067694"/>
          </a:xfrm>
          <a:prstGeom prst="roundRect">
            <a:avLst>
              <a:gd name="adj" fmla="val 16667"/>
            </a:avLst>
          </a:prstGeom>
          <a:solidFill>
            <a:schemeClr val="bg1"/>
          </a:solidFill>
          <a:ln w="28575"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Additional activities</a:t>
            </a:r>
          </a:p>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Courses </a:t>
            </a:r>
          </a:p>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Certificates</a:t>
            </a:r>
          </a:p>
          <a:p>
            <a:pPr marL="0" marR="0" lvl="0" indent="0" algn="ctr" rtl="0">
              <a:spcBef>
                <a:spcPts val="0"/>
              </a:spcBef>
              <a:spcAft>
                <a:spcPts val="0"/>
              </a:spcAft>
              <a:buNone/>
            </a:pPr>
            <a:r>
              <a:rPr lang="en-GB">
                <a:latin typeface="Delivery" panose="020F0503020204020204" pitchFamily="34" charset="0"/>
                <a:ea typeface="Delivery" panose="020F0503020204020204" pitchFamily="34" charset="0"/>
                <a:cs typeface="Delivery" panose="020F0503020204020204" pitchFamily="34" charset="0"/>
                <a:sym typeface="Arial"/>
              </a:rPr>
              <a:t>Volunteering work</a:t>
            </a:r>
            <a:endParaRPr sz="180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pic>
        <p:nvPicPr>
          <p:cNvPr id="16" name="Google Shape;421;p43">
            <a:extLst>
              <a:ext uri="{FF2B5EF4-FFF2-40B4-BE49-F238E27FC236}">
                <a16:creationId xmlns:a16="http://schemas.microsoft.com/office/drawing/2014/main" id="{154990E1-1864-CA77-9880-667BA36C2C0C}"/>
              </a:ext>
            </a:extLst>
          </p:cNvPr>
          <p:cNvPicPr preferRelativeResize="0"/>
          <p:nvPr/>
        </p:nvPicPr>
        <p:blipFill>
          <a:blip r:embed="rId4">
            <a:alphaModFix amt="80000"/>
          </a:blip>
          <a:stretch>
            <a:fillRect/>
          </a:stretch>
        </p:blipFill>
        <p:spPr>
          <a:xfrm rot="12536618">
            <a:off x="3208734" y="5302467"/>
            <a:ext cx="896415" cy="377014"/>
          </a:xfrm>
          <a:prstGeom prst="rect">
            <a:avLst/>
          </a:prstGeom>
          <a:noFill/>
          <a:ln>
            <a:noFill/>
          </a:ln>
        </p:spPr>
      </p:pic>
      <p:sp>
        <p:nvSpPr>
          <p:cNvPr id="17" name="Google Shape;615;p15">
            <a:extLst>
              <a:ext uri="{FF2B5EF4-FFF2-40B4-BE49-F238E27FC236}">
                <a16:creationId xmlns:a16="http://schemas.microsoft.com/office/drawing/2014/main" id="{AF9763E2-9C7A-BC3F-C058-F4A22B8C1509}"/>
              </a:ext>
            </a:extLst>
          </p:cNvPr>
          <p:cNvSpPr/>
          <p:nvPr/>
        </p:nvSpPr>
        <p:spPr>
          <a:xfrm>
            <a:off x="1083586" y="3823740"/>
            <a:ext cx="1792679" cy="557967"/>
          </a:xfrm>
          <a:prstGeom prst="roundRect">
            <a:avLst>
              <a:gd name="adj" fmla="val 16667"/>
            </a:avLst>
          </a:prstGeom>
          <a:solidFill>
            <a:schemeClr val="bg1"/>
          </a:solidFill>
          <a:ln w="28575"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References</a:t>
            </a:r>
            <a:endParaRPr sz="1800">
              <a:solidFill>
                <a:schemeClr val="tx1"/>
              </a:solidFill>
              <a:latin typeface="Delivery" panose="020F0503020204020204" pitchFamily="34" charset="0"/>
              <a:ea typeface="Delivery" panose="020F0503020204020204" pitchFamily="34" charset="0"/>
              <a:cs typeface="Delivery" panose="020F0503020204020204" pitchFamily="34" charset="0"/>
              <a:sym typeface="Arial"/>
            </a:endParaRPr>
          </a:p>
        </p:txBody>
      </p:sp>
      <p:pic>
        <p:nvPicPr>
          <p:cNvPr id="18" name="Google Shape;421;p43">
            <a:extLst>
              <a:ext uri="{FF2B5EF4-FFF2-40B4-BE49-F238E27FC236}">
                <a16:creationId xmlns:a16="http://schemas.microsoft.com/office/drawing/2014/main" id="{5CD17653-72C1-55CF-9AFC-075AA2B81C53}"/>
              </a:ext>
            </a:extLst>
          </p:cNvPr>
          <p:cNvPicPr preferRelativeResize="0"/>
          <p:nvPr/>
        </p:nvPicPr>
        <p:blipFill>
          <a:blip r:embed="rId4">
            <a:alphaModFix amt="80000"/>
          </a:blip>
          <a:stretch>
            <a:fillRect/>
          </a:stretch>
        </p:blipFill>
        <p:spPr>
          <a:xfrm rot="12536618">
            <a:off x="3073435" y="4099779"/>
            <a:ext cx="896415" cy="377014"/>
          </a:xfrm>
          <a:prstGeom prst="rect">
            <a:avLst/>
          </a:prstGeom>
          <a:noFill/>
          <a:ln>
            <a:noFill/>
          </a:ln>
        </p:spPr>
      </p:pic>
      <p:sp>
        <p:nvSpPr>
          <p:cNvPr id="20" name="Google Shape;615;p15">
            <a:extLst>
              <a:ext uri="{FF2B5EF4-FFF2-40B4-BE49-F238E27FC236}">
                <a16:creationId xmlns:a16="http://schemas.microsoft.com/office/drawing/2014/main" id="{3312E97C-5B11-7CBA-BD83-CA966E0FE0A4}"/>
              </a:ext>
            </a:extLst>
          </p:cNvPr>
          <p:cNvSpPr/>
          <p:nvPr/>
        </p:nvSpPr>
        <p:spPr>
          <a:xfrm>
            <a:off x="1372116" y="1919678"/>
            <a:ext cx="1499702" cy="720868"/>
          </a:xfrm>
          <a:prstGeom prst="roundRect">
            <a:avLst>
              <a:gd name="adj" fmla="val 16667"/>
            </a:avLst>
          </a:prstGeom>
          <a:solidFill>
            <a:schemeClr val="bg1"/>
          </a:solidFill>
          <a:ln w="28575" cap="flat" cmpd="sng">
            <a:solidFill>
              <a:srgbClr val="FFC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Languages</a:t>
            </a:r>
          </a:p>
        </p:txBody>
      </p:sp>
      <p:pic>
        <p:nvPicPr>
          <p:cNvPr id="21" name="Google Shape;421;p43">
            <a:extLst>
              <a:ext uri="{FF2B5EF4-FFF2-40B4-BE49-F238E27FC236}">
                <a16:creationId xmlns:a16="http://schemas.microsoft.com/office/drawing/2014/main" id="{95EDA777-0101-F30B-1C50-64D8B3B65DC3}"/>
              </a:ext>
            </a:extLst>
          </p:cNvPr>
          <p:cNvPicPr preferRelativeResize="0"/>
          <p:nvPr/>
        </p:nvPicPr>
        <p:blipFill>
          <a:blip r:embed="rId4">
            <a:alphaModFix amt="80000"/>
          </a:blip>
          <a:stretch>
            <a:fillRect/>
          </a:stretch>
        </p:blipFill>
        <p:spPr>
          <a:xfrm rot="12536618">
            <a:off x="3120599" y="1989519"/>
            <a:ext cx="896415" cy="377014"/>
          </a:xfrm>
          <a:prstGeom prst="rect">
            <a:avLst/>
          </a:prstGeom>
          <a:noFill/>
          <a:ln>
            <a:noFill/>
          </a:ln>
        </p:spPr>
      </p:pic>
      <p:sp>
        <p:nvSpPr>
          <p:cNvPr id="22" name="TextBox 21">
            <a:extLst>
              <a:ext uri="{FF2B5EF4-FFF2-40B4-BE49-F238E27FC236}">
                <a16:creationId xmlns:a16="http://schemas.microsoft.com/office/drawing/2014/main" id="{E78A1784-56B7-3D83-2B8A-E27C6F68BBFC}"/>
              </a:ext>
            </a:extLst>
          </p:cNvPr>
          <p:cNvSpPr txBox="1"/>
          <p:nvPr/>
        </p:nvSpPr>
        <p:spPr>
          <a:xfrm>
            <a:off x="8302752" y="6498336"/>
            <a:ext cx="3377184" cy="369332"/>
          </a:xfrm>
          <a:prstGeom prst="rect">
            <a:avLst/>
          </a:prstGeom>
          <a:noFill/>
        </p:spPr>
        <p:txBody>
          <a:bodyPr wrap="square" rtlCol="0">
            <a:spAutoFit/>
          </a:bodyPr>
          <a:lstStyle/>
          <a:p>
            <a:r>
              <a:rPr lang="en-US"/>
              <a:t>*Must haves</a:t>
            </a:r>
          </a:p>
        </p:txBody>
      </p:sp>
      <p:sp>
        <p:nvSpPr>
          <p:cNvPr id="19" name="Slide Number Placeholder 18">
            <a:extLst>
              <a:ext uri="{FF2B5EF4-FFF2-40B4-BE49-F238E27FC236}">
                <a16:creationId xmlns:a16="http://schemas.microsoft.com/office/drawing/2014/main" id="{664909C4-5536-EECB-AB16-072929265812}"/>
              </a:ext>
            </a:extLst>
          </p:cNvPr>
          <p:cNvSpPr>
            <a:spLocks noGrp="1"/>
          </p:cNvSpPr>
          <p:nvPr>
            <p:ph type="sldNum" sz="quarter" idx="10"/>
          </p:nvPr>
        </p:nvSpPr>
        <p:spPr/>
        <p:txBody>
          <a:bodyPr/>
          <a:lstStyle/>
          <a:p>
            <a:fld id="{CC62790A-B937-4AF6-AB00-7B0D9DC7434B}" type="slidenum">
              <a:rPr lang="nl-NL" smtClean="0"/>
              <a:pPr/>
              <a:t>12</a:t>
            </a:fld>
            <a:endParaRPr lang="nl-NL"/>
          </a:p>
        </p:txBody>
      </p:sp>
    </p:spTree>
    <p:extLst>
      <p:ext uri="{BB962C8B-B14F-4D97-AF65-F5344CB8AC3E}">
        <p14:creationId xmlns:p14="http://schemas.microsoft.com/office/powerpoint/2010/main" val="255096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23244CD-626B-562D-5BF0-2408145084DF}"/>
              </a:ext>
            </a:extLst>
          </p:cNvPr>
          <p:cNvSpPr>
            <a:spLocks noGrp="1"/>
          </p:cNvSpPr>
          <p:nvPr>
            <p:ph type="title"/>
          </p:nvPr>
        </p:nvSpPr>
        <p:spPr/>
        <p:txBody>
          <a:bodyPr/>
          <a:lstStyle/>
          <a:p>
            <a:r>
              <a:rPr lang="en-US"/>
              <a:t>WRITE YOUR CV</a:t>
            </a:r>
          </a:p>
        </p:txBody>
      </p:sp>
      <p:sp>
        <p:nvSpPr>
          <p:cNvPr id="8" name="TextBox 7">
            <a:extLst>
              <a:ext uri="{FF2B5EF4-FFF2-40B4-BE49-F238E27FC236}">
                <a16:creationId xmlns:a16="http://schemas.microsoft.com/office/drawing/2014/main" id="{70839991-713B-AAFE-7771-B5CB70508BFA}"/>
              </a:ext>
            </a:extLst>
          </p:cNvPr>
          <p:cNvSpPr txBox="1"/>
          <p:nvPr/>
        </p:nvSpPr>
        <p:spPr>
          <a:xfrm>
            <a:off x="1145310" y="969554"/>
            <a:ext cx="2401455" cy="646331"/>
          </a:xfrm>
          <a:prstGeom prst="rect">
            <a:avLst/>
          </a:prstGeom>
          <a:noFill/>
        </p:spPr>
        <p:txBody>
          <a:bodyPr wrap="square" rtlCol="0">
            <a:spAutoFit/>
          </a:bodyPr>
          <a:lstStyle/>
          <a:p>
            <a:r>
              <a:rPr lang="en-US" b="1">
                <a:latin typeface="Ink Free" panose="03080402000500000000" pitchFamily="66" charset="0"/>
              </a:rPr>
              <a:t>Contact Details/ Personal Statement</a:t>
            </a:r>
          </a:p>
        </p:txBody>
      </p:sp>
      <p:sp>
        <p:nvSpPr>
          <p:cNvPr id="2" name="TextBox 1">
            <a:extLst>
              <a:ext uri="{FF2B5EF4-FFF2-40B4-BE49-F238E27FC236}">
                <a16:creationId xmlns:a16="http://schemas.microsoft.com/office/drawing/2014/main" id="{4A5D0FC9-545F-375F-00AA-4EA7653582A6}"/>
              </a:ext>
            </a:extLst>
          </p:cNvPr>
          <p:cNvSpPr txBox="1"/>
          <p:nvPr/>
        </p:nvSpPr>
        <p:spPr>
          <a:xfrm>
            <a:off x="609600" y="2022764"/>
            <a:ext cx="2817091" cy="369332"/>
          </a:xfrm>
          <a:prstGeom prst="rect">
            <a:avLst/>
          </a:prstGeom>
          <a:noFill/>
        </p:spPr>
        <p:txBody>
          <a:bodyPr wrap="square" rtlCol="0">
            <a:spAutoFit/>
          </a:bodyPr>
          <a:lstStyle/>
          <a:p>
            <a:r>
              <a:rPr lang="en-US"/>
              <a:t>Contact details:</a:t>
            </a:r>
          </a:p>
        </p:txBody>
      </p:sp>
      <p:sp>
        <p:nvSpPr>
          <p:cNvPr id="3" name="TextBox 2">
            <a:extLst>
              <a:ext uri="{FF2B5EF4-FFF2-40B4-BE49-F238E27FC236}">
                <a16:creationId xmlns:a16="http://schemas.microsoft.com/office/drawing/2014/main" id="{4EAA137D-C288-FD18-18E5-527EE9C8F5C3}"/>
              </a:ext>
            </a:extLst>
          </p:cNvPr>
          <p:cNvSpPr txBox="1"/>
          <p:nvPr/>
        </p:nvSpPr>
        <p:spPr>
          <a:xfrm>
            <a:off x="609600" y="4442692"/>
            <a:ext cx="2817091" cy="369332"/>
          </a:xfrm>
          <a:prstGeom prst="rect">
            <a:avLst/>
          </a:prstGeom>
          <a:noFill/>
        </p:spPr>
        <p:txBody>
          <a:bodyPr wrap="square" rtlCol="0">
            <a:spAutoFit/>
          </a:bodyPr>
          <a:lstStyle/>
          <a:p>
            <a:r>
              <a:rPr lang="en-US"/>
              <a:t>Personal statement:</a:t>
            </a:r>
          </a:p>
        </p:txBody>
      </p:sp>
      <p:sp>
        <p:nvSpPr>
          <p:cNvPr id="4" name="Slide Number Placeholder 3">
            <a:extLst>
              <a:ext uri="{FF2B5EF4-FFF2-40B4-BE49-F238E27FC236}">
                <a16:creationId xmlns:a16="http://schemas.microsoft.com/office/drawing/2014/main" id="{9114521E-B76A-2CC9-957D-DA9C150DEEFF}"/>
              </a:ext>
            </a:extLst>
          </p:cNvPr>
          <p:cNvSpPr>
            <a:spLocks noGrp="1"/>
          </p:cNvSpPr>
          <p:nvPr>
            <p:ph type="sldNum" sz="quarter" idx="10"/>
          </p:nvPr>
        </p:nvSpPr>
        <p:spPr/>
        <p:txBody>
          <a:bodyPr/>
          <a:lstStyle/>
          <a:p>
            <a:fld id="{CC62790A-B937-4AF6-AB00-7B0D9DC7434B}" type="slidenum">
              <a:rPr lang="nl-NL" smtClean="0"/>
              <a:pPr/>
              <a:t>13</a:t>
            </a:fld>
            <a:endParaRPr lang="nl-NL"/>
          </a:p>
        </p:txBody>
      </p:sp>
    </p:spTree>
    <p:extLst>
      <p:ext uri="{BB962C8B-B14F-4D97-AF65-F5344CB8AC3E}">
        <p14:creationId xmlns:p14="http://schemas.microsoft.com/office/powerpoint/2010/main" val="398318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23244CD-626B-562D-5BF0-2408145084DF}"/>
              </a:ext>
            </a:extLst>
          </p:cNvPr>
          <p:cNvSpPr>
            <a:spLocks noGrp="1"/>
          </p:cNvSpPr>
          <p:nvPr>
            <p:ph type="title"/>
          </p:nvPr>
        </p:nvSpPr>
        <p:spPr/>
        <p:txBody>
          <a:bodyPr/>
          <a:lstStyle/>
          <a:p>
            <a:r>
              <a:rPr lang="en-US"/>
              <a:t>WRITE YOUR CV</a:t>
            </a:r>
          </a:p>
        </p:txBody>
      </p:sp>
      <p:sp>
        <p:nvSpPr>
          <p:cNvPr id="8" name="TextBox 7">
            <a:extLst>
              <a:ext uri="{FF2B5EF4-FFF2-40B4-BE49-F238E27FC236}">
                <a16:creationId xmlns:a16="http://schemas.microsoft.com/office/drawing/2014/main" id="{70839991-713B-AAFE-7771-B5CB70508BFA}"/>
              </a:ext>
            </a:extLst>
          </p:cNvPr>
          <p:cNvSpPr txBox="1"/>
          <p:nvPr/>
        </p:nvSpPr>
        <p:spPr>
          <a:xfrm>
            <a:off x="905164" y="1089892"/>
            <a:ext cx="3020291" cy="369332"/>
          </a:xfrm>
          <a:prstGeom prst="rect">
            <a:avLst/>
          </a:prstGeom>
          <a:noFill/>
        </p:spPr>
        <p:txBody>
          <a:bodyPr wrap="square" rtlCol="0">
            <a:spAutoFit/>
          </a:bodyPr>
          <a:lstStyle/>
          <a:p>
            <a:r>
              <a:rPr lang="en-US" b="1">
                <a:latin typeface="Ink Free" panose="03080402000500000000" pitchFamily="66" charset="0"/>
              </a:rPr>
              <a:t>Education/Work Experience</a:t>
            </a:r>
          </a:p>
        </p:txBody>
      </p:sp>
      <p:sp>
        <p:nvSpPr>
          <p:cNvPr id="2" name="TextBox 1">
            <a:extLst>
              <a:ext uri="{FF2B5EF4-FFF2-40B4-BE49-F238E27FC236}">
                <a16:creationId xmlns:a16="http://schemas.microsoft.com/office/drawing/2014/main" id="{78B294B2-0B03-1F07-42FE-209ECAA203F9}"/>
              </a:ext>
            </a:extLst>
          </p:cNvPr>
          <p:cNvSpPr txBox="1"/>
          <p:nvPr/>
        </p:nvSpPr>
        <p:spPr>
          <a:xfrm>
            <a:off x="609600" y="2022764"/>
            <a:ext cx="2817091" cy="369332"/>
          </a:xfrm>
          <a:prstGeom prst="rect">
            <a:avLst/>
          </a:prstGeom>
          <a:noFill/>
        </p:spPr>
        <p:txBody>
          <a:bodyPr wrap="square" rtlCol="0">
            <a:spAutoFit/>
          </a:bodyPr>
          <a:lstStyle/>
          <a:p>
            <a:r>
              <a:rPr lang="en-US"/>
              <a:t>Education:</a:t>
            </a:r>
          </a:p>
        </p:txBody>
      </p:sp>
      <p:sp>
        <p:nvSpPr>
          <p:cNvPr id="3" name="TextBox 2">
            <a:extLst>
              <a:ext uri="{FF2B5EF4-FFF2-40B4-BE49-F238E27FC236}">
                <a16:creationId xmlns:a16="http://schemas.microsoft.com/office/drawing/2014/main" id="{C44C0023-0165-15C0-C605-35ABFAB75438}"/>
              </a:ext>
            </a:extLst>
          </p:cNvPr>
          <p:cNvSpPr txBox="1"/>
          <p:nvPr/>
        </p:nvSpPr>
        <p:spPr>
          <a:xfrm>
            <a:off x="609600" y="4442692"/>
            <a:ext cx="2817091" cy="369332"/>
          </a:xfrm>
          <a:prstGeom prst="rect">
            <a:avLst/>
          </a:prstGeom>
          <a:noFill/>
        </p:spPr>
        <p:txBody>
          <a:bodyPr wrap="square" rtlCol="0">
            <a:spAutoFit/>
          </a:bodyPr>
          <a:lstStyle/>
          <a:p>
            <a:r>
              <a:rPr lang="en-US"/>
              <a:t>Work Experience:</a:t>
            </a:r>
          </a:p>
        </p:txBody>
      </p:sp>
      <p:sp>
        <p:nvSpPr>
          <p:cNvPr id="4" name="Slide Number Placeholder 3">
            <a:extLst>
              <a:ext uri="{FF2B5EF4-FFF2-40B4-BE49-F238E27FC236}">
                <a16:creationId xmlns:a16="http://schemas.microsoft.com/office/drawing/2014/main" id="{2E64A5DE-7586-64F9-3528-1E1581CD222B}"/>
              </a:ext>
            </a:extLst>
          </p:cNvPr>
          <p:cNvSpPr>
            <a:spLocks noGrp="1"/>
          </p:cNvSpPr>
          <p:nvPr>
            <p:ph type="sldNum" sz="quarter" idx="10"/>
          </p:nvPr>
        </p:nvSpPr>
        <p:spPr/>
        <p:txBody>
          <a:bodyPr/>
          <a:lstStyle/>
          <a:p>
            <a:fld id="{CC62790A-B937-4AF6-AB00-7B0D9DC7434B}" type="slidenum">
              <a:rPr lang="nl-NL" smtClean="0"/>
              <a:pPr/>
              <a:t>14</a:t>
            </a:fld>
            <a:endParaRPr lang="nl-NL"/>
          </a:p>
        </p:txBody>
      </p:sp>
    </p:spTree>
    <p:extLst>
      <p:ext uri="{BB962C8B-B14F-4D97-AF65-F5344CB8AC3E}">
        <p14:creationId xmlns:p14="http://schemas.microsoft.com/office/powerpoint/2010/main" val="31739589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23244CD-626B-562D-5BF0-2408145084DF}"/>
              </a:ext>
            </a:extLst>
          </p:cNvPr>
          <p:cNvSpPr>
            <a:spLocks noGrp="1"/>
          </p:cNvSpPr>
          <p:nvPr>
            <p:ph type="title"/>
          </p:nvPr>
        </p:nvSpPr>
        <p:spPr/>
        <p:txBody>
          <a:bodyPr/>
          <a:lstStyle/>
          <a:p>
            <a:r>
              <a:rPr lang="en-US"/>
              <a:t>WRITE YOUR CV</a:t>
            </a:r>
          </a:p>
        </p:txBody>
      </p:sp>
      <p:sp>
        <p:nvSpPr>
          <p:cNvPr id="8" name="TextBox 7">
            <a:extLst>
              <a:ext uri="{FF2B5EF4-FFF2-40B4-BE49-F238E27FC236}">
                <a16:creationId xmlns:a16="http://schemas.microsoft.com/office/drawing/2014/main" id="{70839991-713B-AAFE-7771-B5CB70508BFA}"/>
              </a:ext>
            </a:extLst>
          </p:cNvPr>
          <p:cNvSpPr txBox="1"/>
          <p:nvPr/>
        </p:nvSpPr>
        <p:spPr>
          <a:xfrm>
            <a:off x="905164" y="1089892"/>
            <a:ext cx="3020291" cy="369332"/>
          </a:xfrm>
          <a:prstGeom prst="rect">
            <a:avLst/>
          </a:prstGeom>
          <a:noFill/>
        </p:spPr>
        <p:txBody>
          <a:bodyPr wrap="square" rtlCol="0">
            <a:spAutoFit/>
          </a:bodyPr>
          <a:lstStyle/>
          <a:p>
            <a:r>
              <a:rPr lang="en-US" b="1">
                <a:latin typeface="Ink Free" panose="03080402000500000000" pitchFamily="66" charset="0"/>
              </a:rPr>
              <a:t>Achievements and Skills</a:t>
            </a:r>
          </a:p>
        </p:txBody>
      </p:sp>
      <p:sp>
        <p:nvSpPr>
          <p:cNvPr id="2" name="TextBox 1">
            <a:extLst>
              <a:ext uri="{FF2B5EF4-FFF2-40B4-BE49-F238E27FC236}">
                <a16:creationId xmlns:a16="http://schemas.microsoft.com/office/drawing/2014/main" id="{78B294B2-0B03-1F07-42FE-209ECAA203F9}"/>
              </a:ext>
            </a:extLst>
          </p:cNvPr>
          <p:cNvSpPr txBox="1"/>
          <p:nvPr/>
        </p:nvSpPr>
        <p:spPr>
          <a:xfrm>
            <a:off x="609600" y="2022764"/>
            <a:ext cx="2817091" cy="369332"/>
          </a:xfrm>
          <a:prstGeom prst="rect">
            <a:avLst/>
          </a:prstGeom>
          <a:noFill/>
        </p:spPr>
        <p:txBody>
          <a:bodyPr wrap="square" rtlCol="0">
            <a:spAutoFit/>
          </a:bodyPr>
          <a:lstStyle/>
          <a:p>
            <a:r>
              <a:rPr lang="en-US"/>
              <a:t>Achievements and Skills:</a:t>
            </a:r>
          </a:p>
        </p:txBody>
      </p:sp>
      <p:sp>
        <p:nvSpPr>
          <p:cNvPr id="3" name="Slide Number Placeholder 2">
            <a:extLst>
              <a:ext uri="{FF2B5EF4-FFF2-40B4-BE49-F238E27FC236}">
                <a16:creationId xmlns:a16="http://schemas.microsoft.com/office/drawing/2014/main" id="{9624A34E-A68C-E020-6353-C59477ED839E}"/>
              </a:ext>
            </a:extLst>
          </p:cNvPr>
          <p:cNvSpPr>
            <a:spLocks noGrp="1"/>
          </p:cNvSpPr>
          <p:nvPr>
            <p:ph type="sldNum" sz="quarter" idx="10"/>
          </p:nvPr>
        </p:nvSpPr>
        <p:spPr/>
        <p:txBody>
          <a:bodyPr/>
          <a:lstStyle/>
          <a:p>
            <a:fld id="{CC62790A-B937-4AF6-AB00-7B0D9DC7434B}" type="slidenum">
              <a:rPr lang="nl-NL" smtClean="0"/>
              <a:pPr/>
              <a:t>15</a:t>
            </a:fld>
            <a:endParaRPr lang="nl-NL"/>
          </a:p>
        </p:txBody>
      </p:sp>
    </p:spTree>
    <p:extLst>
      <p:ext uri="{BB962C8B-B14F-4D97-AF65-F5344CB8AC3E}">
        <p14:creationId xmlns:p14="http://schemas.microsoft.com/office/powerpoint/2010/main" val="2316962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23244CD-626B-562D-5BF0-2408145084DF}"/>
              </a:ext>
            </a:extLst>
          </p:cNvPr>
          <p:cNvSpPr>
            <a:spLocks noGrp="1"/>
          </p:cNvSpPr>
          <p:nvPr>
            <p:ph type="title"/>
          </p:nvPr>
        </p:nvSpPr>
        <p:spPr/>
        <p:txBody>
          <a:bodyPr/>
          <a:lstStyle/>
          <a:p>
            <a:r>
              <a:rPr lang="en-US"/>
              <a:t>WRITE YOUR CV</a:t>
            </a:r>
          </a:p>
        </p:txBody>
      </p:sp>
      <p:sp>
        <p:nvSpPr>
          <p:cNvPr id="8" name="TextBox 7">
            <a:extLst>
              <a:ext uri="{FF2B5EF4-FFF2-40B4-BE49-F238E27FC236}">
                <a16:creationId xmlns:a16="http://schemas.microsoft.com/office/drawing/2014/main" id="{70839991-713B-AAFE-7771-B5CB70508BFA}"/>
              </a:ext>
            </a:extLst>
          </p:cNvPr>
          <p:cNvSpPr txBox="1"/>
          <p:nvPr/>
        </p:nvSpPr>
        <p:spPr>
          <a:xfrm>
            <a:off x="905164" y="1089892"/>
            <a:ext cx="3020291" cy="369332"/>
          </a:xfrm>
          <a:prstGeom prst="rect">
            <a:avLst/>
          </a:prstGeom>
          <a:noFill/>
        </p:spPr>
        <p:txBody>
          <a:bodyPr wrap="square" rtlCol="0">
            <a:spAutoFit/>
          </a:bodyPr>
          <a:lstStyle/>
          <a:p>
            <a:r>
              <a:rPr lang="en-US" b="1">
                <a:latin typeface="Ink Free" panose="03080402000500000000" pitchFamily="66" charset="0"/>
              </a:rPr>
              <a:t>Achievements and Skills</a:t>
            </a:r>
          </a:p>
        </p:txBody>
      </p:sp>
      <p:sp>
        <p:nvSpPr>
          <p:cNvPr id="2" name="TextBox 1">
            <a:extLst>
              <a:ext uri="{FF2B5EF4-FFF2-40B4-BE49-F238E27FC236}">
                <a16:creationId xmlns:a16="http://schemas.microsoft.com/office/drawing/2014/main" id="{78B294B2-0B03-1F07-42FE-209ECAA203F9}"/>
              </a:ext>
            </a:extLst>
          </p:cNvPr>
          <p:cNvSpPr txBox="1"/>
          <p:nvPr/>
        </p:nvSpPr>
        <p:spPr>
          <a:xfrm>
            <a:off x="609600" y="2022764"/>
            <a:ext cx="2817091" cy="369332"/>
          </a:xfrm>
          <a:prstGeom prst="rect">
            <a:avLst/>
          </a:prstGeom>
          <a:noFill/>
        </p:spPr>
        <p:txBody>
          <a:bodyPr wrap="square" rtlCol="0">
            <a:spAutoFit/>
          </a:bodyPr>
          <a:lstStyle/>
          <a:p>
            <a:r>
              <a:rPr lang="en-US"/>
              <a:t>Interests/ hobbies:</a:t>
            </a:r>
          </a:p>
        </p:txBody>
      </p:sp>
      <p:sp>
        <p:nvSpPr>
          <p:cNvPr id="3" name="TextBox 2">
            <a:extLst>
              <a:ext uri="{FF2B5EF4-FFF2-40B4-BE49-F238E27FC236}">
                <a16:creationId xmlns:a16="http://schemas.microsoft.com/office/drawing/2014/main" id="{3E7A6936-5AD8-FC7C-9AA7-75EA3A8DF197}"/>
              </a:ext>
            </a:extLst>
          </p:cNvPr>
          <p:cNvSpPr txBox="1"/>
          <p:nvPr/>
        </p:nvSpPr>
        <p:spPr>
          <a:xfrm>
            <a:off x="609599" y="3985491"/>
            <a:ext cx="6188365" cy="369332"/>
          </a:xfrm>
          <a:prstGeom prst="rect">
            <a:avLst/>
          </a:prstGeom>
          <a:noFill/>
        </p:spPr>
        <p:txBody>
          <a:bodyPr wrap="square" rtlCol="0">
            <a:spAutoFit/>
          </a:bodyPr>
          <a:lstStyle/>
          <a:p>
            <a:pPr marL="0" marR="0" lvl="0" indent="0" algn="ctr" rtl="0">
              <a:spcBef>
                <a:spcPts val="0"/>
              </a:spcBef>
              <a:spcAft>
                <a:spcPts val="0"/>
              </a:spcAft>
              <a:buNone/>
            </a:pPr>
            <a:r>
              <a:rPr lang="en-US"/>
              <a:t>Additional activities/</a:t>
            </a:r>
            <a:r>
              <a:rPr lang="en-GB" sz="1800">
                <a:solidFill>
                  <a:schemeClr val="tx1"/>
                </a:solidFill>
                <a:latin typeface="Delivery" panose="020F0503020204020204" pitchFamily="34" charset="0"/>
                <a:ea typeface="Delivery" panose="020F0503020204020204" pitchFamily="34" charset="0"/>
                <a:cs typeface="Delivery" panose="020F0503020204020204" pitchFamily="34" charset="0"/>
              </a:rPr>
              <a:t> Courses/Certificates</a:t>
            </a:r>
            <a:r>
              <a:rPr lang="en-GB">
                <a:latin typeface="Delivery" panose="020F0503020204020204" pitchFamily="34" charset="0"/>
                <a:ea typeface="Delivery" panose="020F0503020204020204" pitchFamily="34" charset="0"/>
                <a:cs typeface="Delivery" panose="020F0503020204020204" pitchFamily="34" charset="0"/>
              </a:rPr>
              <a:t>/</a:t>
            </a:r>
            <a:r>
              <a:rPr lang="en-GB">
                <a:latin typeface="Delivery" panose="020F0503020204020204" pitchFamily="34" charset="0"/>
                <a:ea typeface="Delivery" panose="020F0503020204020204" pitchFamily="34" charset="0"/>
                <a:cs typeface="Delivery" panose="020F0503020204020204" pitchFamily="34" charset="0"/>
                <a:sym typeface="Arial"/>
              </a:rPr>
              <a:t>Volunteering work</a:t>
            </a:r>
            <a:r>
              <a:rPr lang="en-US"/>
              <a:t> </a:t>
            </a:r>
          </a:p>
        </p:txBody>
      </p:sp>
      <p:sp>
        <p:nvSpPr>
          <p:cNvPr id="4" name="Slide Number Placeholder 3">
            <a:extLst>
              <a:ext uri="{FF2B5EF4-FFF2-40B4-BE49-F238E27FC236}">
                <a16:creationId xmlns:a16="http://schemas.microsoft.com/office/drawing/2014/main" id="{083F4CCA-5AB9-38E6-A660-E11A0A3CE3BA}"/>
              </a:ext>
            </a:extLst>
          </p:cNvPr>
          <p:cNvSpPr>
            <a:spLocks noGrp="1"/>
          </p:cNvSpPr>
          <p:nvPr>
            <p:ph type="sldNum" sz="quarter" idx="10"/>
          </p:nvPr>
        </p:nvSpPr>
        <p:spPr/>
        <p:txBody>
          <a:bodyPr/>
          <a:lstStyle/>
          <a:p>
            <a:fld id="{CC62790A-B937-4AF6-AB00-7B0D9DC7434B}" type="slidenum">
              <a:rPr lang="nl-NL" smtClean="0"/>
              <a:pPr/>
              <a:t>16</a:t>
            </a:fld>
            <a:endParaRPr lang="nl-NL"/>
          </a:p>
        </p:txBody>
      </p:sp>
    </p:spTree>
    <p:extLst>
      <p:ext uri="{BB962C8B-B14F-4D97-AF65-F5344CB8AC3E}">
        <p14:creationId xmlns:p14="http://schemas.microsoft.com/office/powerpoint/2010/main" val="17872189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F741B4-FB78-FD85-0AAE-5C470B4C2500}"/>
              </a:ext>
            </a:extLst>
          </p:cNvPr>
          <p:cNvSpPr txBox="1"/>
          <p:nvPr/>
        </p:nvSpPr>
        <p:spPr>
          <a:xfrm>
            <a:off x="0" y="5678646"/>
            <a:ext cx="5563633" cy="1169551"/>
          </a:xfrm>
          <a:prstGeom prst="rect">
            <a:avLst/>
          </a:prstGeom>
          <a:noFill/>
        </p:spPr>
        <p:txBody>
          <a:bodyPr wrap="square" rtlCol="0">
            <a:spAutoFit/>
          </a:bodyPr>
          <a:lstStyle/>
          <a:p>
            <a:pPr marL="0" marR="0">
              <a:spcBef>
                <a:spcPts val="0"/>
              </a:spcBef>
              <a:spcAft>
                <a:spcPts val="0"/>
              </a:spcAft>
            </a:pPr>
            <a:endParaRPr lang="en-US" sz="1000" i="1" dirty="0">
              <a:effectLst/>
              <a:latin typeface="Delivery" panose="020F0503020204020204" pitchFamily="34" charset="0"/>
              <a:ea typeface="Delivery" panose="020F0503020204020204" pitchFamily="34" charset="0"/>
              <a:cs typeface="Delivery" panose="020F0503020204020204" pitchFamily="34" charset="0"/>
            </a:endParaRPr>
          </a:p>
          <a:p>
            <a:pPr marL="0" marR="0">
              <a:spcBef>
                <a:spcPts val="0"/>
              </a:spcBef>
              <a:spcAft>
                <a:spcPts val="0"/>
              </a:spcAft>
            </a:pPr>
            <a:endParaRPr lang="en-US" sz="1000" i="1" dirty="0">
              <a:latin typeface="Delivery" panose="020F0503020204020204" pitchFamily="34" charset="0"/>
              <a:ea typeface="Delivery" panose="020F0503020204020204" pitchFamily="34" charset="0"/>
              <a:cs typeface="Delivery" panose="020F0503020204020204" pitchFamily="34" charset="0"/>
            </a:endParaRPr>
          </a:p>
          <a:p>
            <a:pPr marL="0" marR="0">
              <a:spcBef>
                <a:spcPts val="0"/>
              </a:spcBef>
              <a:spcAft>
                <a:spcPts val="0"/>
              </a:spcAft>
            </a:pPr>
            <a:r>
              <a:rPr lang="en-US" sz="1000" i="1" dirty="0">
                <a:effectLst/>
                <a:latin typeface="Delivery" panose="020F0503020204020204" pitchFamily="34" charset="0"/>
                <a:ea typeface="Delivery" panose="020F0503020204020204" pitchFamily="34" charset="0"/>
                <a:cs typeface="Delivery" panose="020F0503020204020204" pitchFamily="34" charset="0"/>
              </a:rPr>
              <a:t>Disclaimer:</a:t>
            </a:r>
            <a:endParaRPr lang="en-US" sz="1000" dirty="0">
              <a:effectLst/>
              <a:latin typeface="Delivery" panose="020F0503020204020204" pitchFamily="34" charset="0"/>
              <a:ea typeface="Delivery" panose="020F0503020204020204" pitchFamily="34" charset="0"/>
              <a:cs typeface="Delivery" panose="020F0503020204020204" pitchFamily="34" charset="0"/>
            </a:endParaRPr>
          </a:p>
          <a:p>
            <a:pPr marL="0" marR="0">
              <a:spcBef>
                <a:spcPts val="0"/>
              </a:spcBef>
              <a:spcAft>
                <a:spcPts val="0"/>
              </a:spcAft>
            </a:pPr>
            <a:r>
              <a:rPr lang="en-US" sz="1000" dirty="0">
                <a:effectLst/>
                <a:latin typeface="Delivery" panose="020F0503020204020204" pitchFamily="34" charset="0"/>
                <a:ea typeface="Delivery" panose="020F0503020204020204" pitchFamily="34" charset="0"/>
                <a:cs typeface="Delivery" panose="020F0503020204020204" pitchFamily="34" charset="0"/>
              </a:rPr>
              <a:t>The material contains images from Shutterstock. These images cannot be used in any other materials by anyone without applicable Shutterstock licensing.</a:t>
            </a:r>
          </a:p>
          <a:p>
            <a:pPr marL="0" marR="0">
              <a:spcBef>
                <a:spcPts val="0"/>
              </a:spcBef>
              <a:spcAft>
                <a:spcPts val="0"/>
              </a:spcAft>
            </a:pPr>
            <a:r>
              <a:rPr lang="en-US" sz="1000" dirty="0">
                <a:effectLst/>
                <a:latin typeface="Delivery" panose="020F0503020204020204" pitchFamily="34" charset="0"/>
                <a:ea typeface="Delivery" panose="020F0503020204020204" pitchFamily="34" charset="0"/>
                <a:cs typeface="Delivery" panose="020F0503020204020204" pitchFamily="34" charset="0"/>
              </a:rPr>
              <a:t>Some of the icons used in this material originate from </a:t>
            </a:r>
            <a:r>
              <a:rPr lang="en-US" sz="1000" dirty="0" err="1">
                <a:effectLst/>
                <a:latin typeface="Delivery" panose="020F0503020204020204" pitchFamily="34" charset="0"/>
                <a:ea typeface="Delivery" panose="020F0503020204020204" pitchFamily="34" charset="0"/>
                <a:cs typeface="Delivery" panose="020F0503020204020204" pitchFamily="34" charset="0"/>
              </a:rPr>
              <a:t>Flaticon</a:t>
            </a:r>
            <a:r>
              <a:rPr lang="en-US" sz="1000" dirty="0">
                <a:effectLst/>
                <a:latin typeface="Delivery" panose="020F0503020204020204" pitchFamily="34" charset="0"/>
                <a:ea typeface="Delivery" panose="020F0503020204020204" pitchFamily="34" charset="0"/>
                <a:cs typeface="Delivery" panose="020F0503020204020204" pitchFamily="34" charset="0"/>
              </a:rPr>
              <a:t>.</a:t>
            </a:r>
          </a:p>
          <a:p>
            <a:endParaRPr lang="en-US" sz="1000" dirty="0">
              <a:latin typeface="Delivery" panose="020F0503020204020204" pitchFamily="34" charset="0"/>
              <a:ea typeface="Delivery" panose="020F0503020204020204" pitchFamily="34" charset="0"/>
              <a:cs typeface="Delivery" panose="020F0503020204020204" pitchFamily="34" charset="0"/>
            </a:endParaRPr>
          </a:p>
        </p:txBody>
      </p:sp>
    </p:spTree>
    <p:extLst>
      <p:ext uri="{BB962C8B-B14F-4D97-AF65-F5344CB8AC3E}">
        <p14:creationId xmlns:p14="http://schemas.microsoft.com/office/powerpoint/2010/main" val="4140094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group of people posing for a photo&#10;&#10;Description automatically generated with medium confidence">
            <a:extLst>
              <a:ext uri="{FF2B5EF4-FFF2-40B4-BE49-F238E27FC236}">
                <a16:creationId xmlns:a16="http://schemas.microsoft.com/office/drawing/2014/main" id="{66B14D73-1853-EFD7-BB7A-2A2DAF5962AF}"/>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4455" r="24455"/>
          <a:stretch>
            <a:fillRect/>
          </a:stretch>
        </p:blipFill>
        <p:spPr/>
      </p:pic>
      <p:sp>
        <p:nvSpPr>
          <p:cNvPr id="3" name="Text Placeholder 2">
            <a:extLst>
              <a:ext uri="{FF2B5EF4-FFF2-40B4-BE49-F238E27FC236}">
                <a16:creationId xmlns:a16="http://schemas.microsoft.com/office/drawing/2014/main" id="{E9505191-D401-4B1F-A0FD-9DA8DF3EA35C}"/>
              </a:ext>
            </a:extLst>
          </p:cNvPr>
          <p:cNvSpPr>
            <a:spLocks noGrp="1"/>
          </p:cNvSpPr>
          <p:nvPr>
            <p:ph type="body" sz="quarter" idx="10"/>
          </p:nvPr>
        </p:nvSpPr>
        <p:spPr>
          <a:xfrm>
            <a:off x="547340" y="3626082"/>
            <a:ext cx="8003183" cy="914400"/>
          </a:xfrm>
        </p:spPr>
        <p:txBody>
          <a:bodyPr lIns="91440" tIns="45720" rIns="91440" bIns="45720" anchor="t"/>
          <a:lstStyle/>
          <a:p>
            <a:pPr marL="457200" indent="-457200">
              <a:buFont typeface="Arial" panose="020B0604020202020204" pitchFamily="34" charset="0"/>
              <a:buChar char="•"/>
            </a:pPr>
            <a:r>
              <a:rPr lang="nl-NL">
                <a:latin typeface="Ink Free"/>
              </a:rPr>
              <a:t>Write a </a:t>
            </a:r>
            <a:r>
              <a:rPr lang="en-US" sz="2800">
                <a:latin typeface="Ink Free"/>
                <a:sym typeface="Arial"/>
              </a:rPr>
              <a:t>Curriculum Vitae</a:t>
            </a:r>
            <a:r>
              <a:rPr lang="nl-NL">
                <a:latin typeface="Ink Free"/>
              </a:rPr>
              <a:t> (CV)</a:t>
            </a:r>
            <a:endParaRPr lang="en-US"/>
          </a:p>
        </p:txBody>
      </p:sp>
      <p:sp>
        <p:nvSpPr>
          <p:cNvPr id="4" name="Text Placeholder 3">
            <a:extLst>
              <a:ext uri="{FF2B5EF4-FFF2-40B4-BE49-F238E27FC236}">
                <a16:creationId xmlns:a16="http://schemas.microsoft.com/office/drawing/2014/main" id="{CF6CC01A-D8F6-4AE1-A79C-B9423066DA29}"/>
              </a:ext>
            </a:extLst>
          </p:cNvPr>
          <p:cNvSpPr>
            <a:spLocks noGrp="1"/>
          </p:cNvSpPr>
          <p:nvPr>
            <p:ph type="body" sz="quarter" idx="11"/>
          </p:nvPr>
        </p:nvSpPr>
        <p:spPr>
          <a:xfrm>
            <a:off x="547340" y="4620537"/>
            <a:ext cx="8003183" cy="914400"/>
          </a:xfrm>
        </p:spPr>
        <p:txBody>
          <a:bodyPr/>
          <a:lstStyle/>
          <a:p>
            <a:pPr marL="457200" indent="-457200">
              <a:buFont typeface="Arial" panose="020B0604020202020204" pitchFamily="34" charset="0"/>
              <a:buChar char="•"/>
            </a:pPr>
            <a:r>
              <a:rPr lang="nl-NL"/>
              <a:t>Prepare for a job interview</a:t>
            </a:r>
          </a:p>
        </p:txBody>
      </p:sp>
      <p:sp>
        <p:nvSpPr>
          <p:cNvPr id="2" name="Text Placeholder 2">
            <a:extLst>
              <a:ext uri="{FF2B5EF4-FFF2-40B4-BE49-F238E27FC236}">
                <a16:creationId xmlns:a16="http://schemas.microsoft.com/office/drawing/2014/main" id="{486D12AC-46F8-1749-3AD0-79258AF1D324}"/>
              </a:ext>
            </a:extLst>
          </p:cNvPr>
          <p:cNvSpPr txBox="1">
            <a:spLocks/>
          </p:cNvSpPr>
          <p:nvPr/>
        </p:nvSpPr>
        <p:spPr>
          <a:xfrm>
            <a:off x="547340" y="2631627"/>
            <a:ext cx="8003183" cy="914400"/>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Ink Free" panose="03080402000500000000" pitchFamily="66"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Ink Free" panose="03080402000500000000" pitchFamily="66"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Ink Free" panose="03080402000500000000" pitchFamily="66"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k Free" panose="03080402000500000000" pitchFamily="66"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nk Free" panose="03080402000500000000" pitchFamily="66"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just">
              <a:spcBef>
                <a:spcPts val="0"/>
              </a:spcBef>
              <a:spcAft>
                <a:spcPts val="0"/>
              </a:spcAft>
              <a:buFont typeface="Arial" panose="020B0604020202020204" pitchFamily="34" charset="0"/>
              <a:buChar char="•"/>
            </a:pPr>
            <a:r>
              <a:rPr lang="en-US"/>
              <a:t>Identify your competencies, skills, experiences and present them in a compelling way</a:t>
            </a:r>
          </a:p>
        </p:txBody>
      </p:sp>
      <p:sp>
        <p:nvSpPr>
          <p:cNvPr id="5" name="Slide Number Placeholder 4">
            <a:extLst>
              <a:ext uri="{FF2B5EF4-FFF2-40B4-BE49-F238E27FC236}">
                <a16:creationId xmlns:a16="http://schemas.microsoft.com/office/drawing/2014/main" id="{A7889FE9-3249-FEE2-8BED-6158E8F43A2F}"/>
              </a:ext>
            </a:extLst>
          </p:cNvPr>
          <p:cNvSpPr>
            <a:spLocks noGrp="1"/>
          </p:cNvSpPr>
          <p:nvPr>
            <p:ph type="sldNum" sz="quarter" idx="15"/>
          </p:nvPr>
        </p:nvSpPr>
        <p:spPr/>
        <p:txBody>
          <a:bodyPr/>
          <a:lstStyle/>
          <a:p>
            <a:fld id="{CC62790A-B937-4AF6-AB00-7B0D9DC7434B}" type="slidenum">
              <a:rPr lang="nl-NL" smtClean="0"/>
              <a:pPr/>
              <a:t>2</a:t>
            </a:fld>
            <a:endParaRPr lang="nl-NL"/>
          </a:p>
        </p:txBody>
      </p:sp>
    </p:spTree>
    <p:extLst>
      <p:ext uri="{BB962C8B-B14F-4D97-AF65-F5344CB8AC3E}">
        <p14:creationId xmlns:p14="http://schemas.microsoft.com/office/powerpoint/2010/main" val="1456632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13EF7-E0C1-C8F4-2CA0-AEE3DE5CF4B0}"/>
              </a:ext>
            </a:extLst>
          </p:cNvPr>
          <p:cNvSpPr>
            <a:spLocks noGrp="1"/>
          </p:cNvSpPr>
          <p:nvPr>
            <p:ph type="title"/>
          </p:nvPr>
        </p:nvSpPr>
        <p:spPr/>
        <p:txBody>
          <a:bodyPr/>
          <a:lstStyle/>
          <a:p>
            <a:r>
              <a:rPr lang="en-US"/>
              <a:t>LET’S LEARN FROM EXAMPLES</a:t>
            </a:r>
          </a:p>
        </p:txBody>
      </p:sp>
      <p:sp>
        <p:nvSpPr>
          <p:cNvPr id="3" name="Text Placeholder 2">
            <a:extLst>
              <a:ext uri="{FF2B5EF4-FFF2-40B4-BE49-F238E27FC236}">
                <a16:creationId xmlns:a16="http://schemas.microsoft.com/office/drawing/2014/main" id="{71F8702A-8137-5837-F31F-E1603C466283}"/>
              </a:ext>
            </a:extLst>
          </p:cNvPr>
          <p:cNvSpPr>
            <a:spLocks noGrp="1"/>
          </p:cNvSpPr>
          <p:nvPr>
            <p:ph type="body" sz="quarter" idx="10"/>
          </p:nvPr>
        </p:nvSpPr>
        <p:spPr/>
        <p:txBody>
          <a:bodyPr/>
          <a:lstStyle/>
          <a:p>
            <a:r>
              <a:rPr lang="en-US"/>
              <a:t>Stay in your current group.</a:t>
            </a:r>
          </a:p>
        </p:txBody>
      </p:sp>
      <p:sp>
        <p:nvSpPr>
          <p:cNvPr id="4" name="Text Placeholder 3">
            <a:extLst>
              <a:ext uri="{FF2B5EF4-FFF2-40B4-BE49-F238E27FC236}">
                <a16:creationId xmlns:a16="http://schemas.microsoft.com/office/drawing/2014/main" id="{DE2CE4B0-7495-FB4F-57B5-69B75624F3DA}"/>
              </a:ext>
            </a:extLst>
          </p:cNvPr>
          <p:cNvSpPr>
            <a:spLocks noGrp="1"/>
          </p:cNvSpPr>
          <p:nvPr>
            <p:ph type="body" sz="quarter" idx="11"/>
          </p:nvPr>
        </p:nvSpPr>
        <p:spPr/>
        <p:txBody>
          <a:bodyPr/>
          <a:lstStyle/>
          <a:p>
            <a:r>
              <a:rPr lang="en-US"/>
              <a:t>20 minutes</a:t>
            </a:r>
          </a:p>
        </p:txBody>
      </p:sp>
      <p:sp>
        <p:nvSpPr>
          <p:cNvPr id="5" name="Text Placeholder 4">
            <a:extLst>
              <a:ext uri="{FF2B5EF4-FFF2-40B4-BE49-F238E27FC236}">
                <a16:creationId xmlns:a16="http://schemas.microsoft.com/office/drawing/2014/main" id="{E79BE60A-CDBD-869C-4683-207046B2F5B7}"/>
              </a:ext>
            </a:extLst>
          </p:cNvPr>
          <p:cNvSpPr>
            <a:spLocks noGrp="1"/>
          </p:cNvSpPr>
          <p:nvPr>
            <p:ph type="body" sz="quarter" idx="12"/>
          </p:nvPr>
        </p:nvSpPr>
        <p:spPr/>
        <p:txBody>
          <a:bodyPr/>
          <a:lstStyle/>
          <a:p>
            <a:pPr marL="342900" indent="-342900">
              <a:buFont typeface="Arial" panose="020B0604020202020204" pitchFamily="34" charset="0"/>
              <a:buChar char="•"/>
            </a:pPr>
            <a:r>
              <a:rPr lang="en-US"/>
              <a:t>Out of 4 CVs choose the best CV. </a:t>
            </a:r>
          </a:p>
          <a:p>
            <a:pPr marL="342900" indent="-342900">
              <a:buFont typeface="Arial" panose="020B0604020202020204" pitchFamily="34" charset="0"/>
              <a:buChar char="•"/>
            </a:pPr>
            <a:r>
              <a:rPr lang="en-US"/>
              <a:t>Write down per CV the positive and negative elements.</a:t>
            </a:r>
          </a:p>
          <a:p>
            <a:pPr marL="342900" indent="-342900">
              <a:buFont typeface="Arial" panose="020B0604020202020204" pitchFamily="34" charset="0"/>
              <a:buChar char="•"/>
            </a:pPr>
            <a:r>
              <a:rPr lang="en-US"/>
              <a:t>Choose Who you would invite for an interview</a:t>
            </a:r>
          </a:p>
        </p:txBody>
      </p:sp>
      <p:sp>
        <p:nvSpPr>
          <p:cNvPr id="6" name="Slide Number Placeholder 5">
            <a:extLst>
              <a:ext uri="{FF2B5EF4-FFF2-40B4-BE49-F238E27FC236}">
                <a16:creationId xmlns:a16="http://schemas.microsoft.com/office/drawing/2014/main" id="{68D48E13-9BC2-E736-D5D5-F1EBF4124FE3}"/>
              </a:ext>
            </a:extLst>
          </p:cNvPr>
          <p:cNvSpPr>
            <a:spLocks noGrp="1"/>
          </p:cNvSpPr>
          <p:nvPr>
            <p:ph type="sldNum" sz="quarter" idx="13"/>
          </p:nvPr>
        </p:nvSpPr>
        <p:spPr/>
        <p:txBody>
          <a:bodyPr/>
          <a:lstStyle/>
          <a:p>
            <a:fld id="{CC62790A-B937-4AF6-AB00-7B0D9DC7434B}" type="slidenum">
              <a:rPr lang="nl-NL" smtClean="0"/>
              <a:pPr/>
              <a:t>3</a:t>
            </a:fld>
            <a:endParaRPr lang="nl-NL"/>
          </a:p>
        </p:txBody>
      </p:sp>
    </p:spTree>
    <p:extLst>
      <p:ext uri="{BB962C8B-B14F-4D97-AF65-F5344CB8AC3E}">
        <p14:creationId xmlns:p14="http://schemas.microsoft.com/office/powerpoint/2010/main" val="929641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9923C-6F54-C6A1-A77A-31E851063E44}"/>
              </a:ext>
            </a:extLst>
          </p:cNvPr>
          <p:cNvSpPr>
            <a:spLocks noGrp="1"/>
          </p:cNvSpPr>
          <p:nvPr>
            <p:ph type="title"/>
          </p:nvPr>
        </p:nvSpPr>
        <p:spPr/>
        <p:txBody>
          <a:bodyPr/>
          <a:lstStyle/>
          <a:p>
            <a:r>
              <a:rPr lang="en-US"/>
              <a:t>FEEDBACK ON CV 1 - ANITA</a:t>
            </a:r>
          </a:p>
        </p:txBody>
      </p:sp>
      <p:sp>
        <p:nvSpPr>
          <p:cNvPr id="5" name="Rectangle: Rounded Corners 4">
            <a:extLst>
              <a:ext uri="{FF2B5EF4-FFF2-40B4-BE49-F238E27FC236}">
                <a16:creationId xmlns:a16="http://schemas.microsoft.com/office/drawing/2014/main" id="{1FBFB165-DD29-D1C0-6B23-A768BF25B283}"/>
              </a:ext>
            </a:extLst>
          </p:cNvPr>
          <p:cNvSpPr/>
          <p:nvPr/>
        </p:nvSpPr>
        <p:spPr>
          <a:xfrm>
            <a:off x="305808" y="2720320"/>
            <a:ext cx="5624947" cy="3741439"/>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079DFAD2-F770-CDC6-C151-FA0ACEC28E70}"/>
              </a:ext>
            </a:extLst>
          </p:cNvPr>
          <p:cNvSpPr/>
          <p:nvPr/>
        </p:nvSpPr>
        <p:spPr>
          <a:xfrm>
            <a:off x="6408737" y="2720320"/>
            <a:ext cx="5624947" cy="3741439"/>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a:latin typeface="Ink Free" panose="03080402000500000000" pitchFamily="66" charset="0"/>
              </a:rPr>
              <a:t>……</a:t>
            </a:r>
          </a:p>
          <a:p>
            <a:r>
              <a:rPr lang="en-US" sz="1800">
                <a:latin typeface="Ink Free" panose="03080402000500000000" pitchFamily="66" charset="0"/>
              </a:rPr>
              <a:t>…</a:t>
            </a:r>
          </a:p>
          <a:p>
            <a:endParaRPr lang="en-US" sz="1800">
              <a:latin typeface="Ink Free" panose="03080402000500000000" pitchFamily="66" charset="0"/>
            </a:endParaRPr>
          </a:p>
          <a:p>
            <a:r>
              <a:rPr lang="en-US" sz="1800">
                <a:latin typeface="Ink Free" panose="03080402000500000000" pitchFamily="66" charset="0"/>
              </a:rPr>
              <a:t>….</a:t>
            </a:r>
            <a:endParaRPr lang="nl-NL" sz="1800">
              <a:latin typeface="Ink Free" panose="03080402000500000000" pitchFamily="66" charset="0"/>
            </a:endParaRPr>
          </a:p>
          <a:p>
            <a:pPr algn="ctr"/>
            <a:endParaRPr lang="nl-NL"/>
          </a:p>
        </p:txBody>
      </p:sp>
      <p:sp>
        <p:nvSpPr>
          <p:cNvPr id="8" name="Text Placeholder 7">
            <a:extLst>
              <a:ext uri="{FF2B5EF4-FFF2-40B4-BE49-F238E27FC236}">
                <a16:creationId xmlns:a16="http://schemas.microsoft.com/office/drawing/2014/main" id="{EF5943A6-6E17-FCD3-B458-20276D87165E}"/>
              </a:ext>
            </a:extLst>
          </p:cNvPr>
          <p:cNvSpPr txBox="1">
            <a:spLocks/>
          </p:cNvSpPr>
          <p:nvPr/>
        </p:nvSpPr>
        <p:spPr>
          <a:xfrm>
            <a:off x="6727766" y="3148946"/>
            <a:ext cx="5158426" cy="22154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3600">
              <a:latin typeface="Ink Free" panose="03080402000500000000" pitchFamily="66" charset="0"/>
            </a:endParaRPr>
          </a:p>
        </p:txBody>
      </p:sp>
      <p:pic>
        <p:nvPicPr>
          <p:cNvPr id="4" name="Graphic 3" descr="Thumbs up sign with solid fill">
            <a:extLst>
              <a:ext uri="{FF2B5EF4-FFF2-40B4-BE49-F238E27FC236}">
                <a16:creationId xmlns:a16="http://schemas.microsoft.com/office/drawing/2014/main" id="{F0A9308E-1A1D-C78A-1C0B-70B519CDD5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04289" y="1289415"/>
            <a:ext cx="2304448" cy="2304448"/>
          </a:xfrm>
          <a:prstGeom prst="rect">
            <a:avLst/>
          </a:prstGeom>
        </p:spPr>
      </p:pic>
      <p:pic>
        <p:nvPicPr>
          <p:cNvPr id="3" name="Graphic 2" descr="Thumbs up sign with solid fill">
            <a:extLst>
              <a:ext uri="{FF2B5EF4-FFF2-40B4-BE49-F238E27FC236}">
                <a16:creationId xmlns:a16="http://schemas.microsoft.com/office/drawing/2014/main" id="{3C55C627-3911-5EAF-CB5C-3DEEB13050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10010977" y="1840005"/>
            <a:ext cx="2304448" cy="2304448"/>
          </a:xfrm>
          <a:prstGeom prst="rect">
            <a:avLst/>
          </a:prstGeom>
        </p:spPr>
      </p:pic>
      <p:sp>
        <p:nvSpPr>
          <p:cNvPr id="10" name="Text Placeholder 7">
            <a:extLst>
              <a:ext uri="{FF2B5EF4-FFF2-40B4-BE49-F238E27FC236}">
                <a16:creationId xmlns:a16="http://schemas.microsoft.com/office/drawing/2014/main" id="{6E0FAB1D-7D53-F215-7714-0F0840CD6B8B}"/>
              </a:ext>
            </a:extLst>
          </p:cNvPr>
          <p:cNvSpPr txBox="1">
            <a:spLocks/>
          </p:cNvSpPr>
          <p:nvPr/>
        </p:nvSpPr>
        <p:spPr>
          <a:xfrm>
            <a:off x="587375" y="3148946"/>
            <a:ext cx="5158426" cy="22154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sz="1800">
              <a:latin typeface="Ink Free" panose="03080402000500000000" pitchFamily="66" charset="0"/>
            </a:endParaRPr>
          </a:p>
        </p:txBody>
      </p:sp>
      <p:sp>
        <p:nvSpPr>
          <p:cNvPr id="12" name="Text Placeholder 7">
            <a:extLst>
              <a:ext uri="{FF2B5EF4-FFF2-40B4-BE49-F238E27FC236}">
                <a16:creationId xmlns:a16="http://schemas.microsoft.com/office/drawing/2014/main" id="{DBEB502F-2366-FDF6-4FDC-5D96BD3D72C7}"/>
              </a:ext>
            </a:extLst>
          </p:cNvPr>
          <p:cNvSpPr txBox="1">
            <a:spLocks/>
          </p:cNvSpPr>
          <p:nvPr/>
        </p:nvSpPr>
        <p:spPr>
          <a:xfrm>
            <a:off x="439883" y="3251034"/>
            <a:ext cx="5158426" cy="22154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sz="1800">
              <a:latin typeface="Ink Free" panose="03080402000500000000" pitchFamily="66" charset="0"/>
            </a:endParaRPr>
          </a:p>
        </p:txBody>
      </p:sp>
      <p:sp>
        <p:nvSpPr>
          <p:cNvPr id="6" name="Slide Number Placeholder 5">
            <a:extLst>
              <a:ext uri="{FF2B5EF4-FFF2-40B4-BE49-F238E27FC236}">
                <a16:creationId xmlns:a16="http://schemas.microsoft.com/office/drawing/2014/main" id="{CBFDC301-0381-4AF8-EE5C-1921301539A0}"/>
              </a:ext>
            </a:extLst>
          </p:cNvPr>
          <p:cNvSpPr>
            <a:spLocks noGrp="1"/>
          </p:cNvSpPr>
          <p:nvPr>
            <p:ph type="sldNum" sz="quarter" idx="10"/>
          </p:nvPr>
        </p:nvSpPr>
        <p:spPr/>
        <p:txBody>
          <a:bodyPr/>
          <a:lstStyle/>
          <a:p>
            <a:fld id="{CC62790A-B937-4AF6-AB00-7B0D9DC7434B}" type="slidenum">
              <a:rPr lang="nl-NL" smtClean="0"/>
              <a:pPr/>
              <a:t>4</a:t>
            </a:fld>
            <a:endParaRPr lang="nl-NL"/>
          </a:p>
        </p:txBody>
      </p:sp>
    </p:spTree>
    <p:extLst>
      <p:ext uri="{BB962C8B-B14F-4D97-AF65-F5344CB8AC3E}">
        <p14:creationId xmlns:p14="http://schemas.microsoft.com/office/powerpoint/2010/main" val="3640229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9923C-6F54-C6A1-A77A-31E851063E44}"/>
              </a:ext>
            </a:extLst>
          </p:cNvPr>
          <p:cNvSpPr>
            <a:spLocks noGrp="1"/>
          </p:cNvSpPr>
          <p:nvPr>
            <p:ph type="title"/>
          </p:nvPr>
        </p:nvSpPr>
        <p:spPr/>
        <p:txBody>
          <a:bodyPr/>
          <a:lstStyle/>
          <a:p>
            <a:r>
              <a:rPr lang="en-US"/>
              <a:t>FEEDBACK ON CV 2 - ZAK</a:t>
            </a:r>
          </a:p>
        </p:txBody>
      </p:sp>
      <p:sp>
        <p:nvSpPr>
          <p:cNvPr id="5" name="Rectangle: Rounded Corners 4">
            <a:extLst>
              <a:ext uri="{FF2B5EF4-FFF2-40B4-BE49-F238E27FC236}">
                <a16:creationId xmlns:a16="http://schemas.microsoft.com/office/drawing/2014/main" id="{1FBFB165-DD29-D1C0-6B23-A768BF25B283}"/>
              </a:ext>
            </a:extLst>
          </p:cNvPr>
          <p:cNvSpPr/>
          <p:nvPr/>
        </p:nvSpPr>
        <p:spPr>
          <a:xfrm>
            <a:off x="305808" y="2720320"/>
            <a:ext cx="5624947" cy="3595135"/>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079DFAD2-F770-CDC6-C151-FA0ACEC28E70}"/>
              </a:ext>
            </a:extLst>
          </p:cNvPr>
          <p:cNvSpPr/>
          <p:nvPr/>
        </p:nvSpPr>
        <p:spPr>
          <a:xfrm>
            <a:off x="6408737" y="2720320"/>
            <a:ext cx="5624947" cy="3595135"/>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a:latin typeface="Ink Free" panose="03080402000500000000" pitchFamily="66" charset="0"/>
              </a:rPr>
              <a:t>……</a:t>
            </a:r>
          </a:p>
          <a:p>
            <a:r>
              <a:rPr lang="en-US" sz="1800">
                <a:latin typeface="Ink Free" panose="03080402000500000000" pitchFamily="66" charset="0"/>
              </a:rPr>
              <a:t>…No </a:t>
            </a:r>
          </a:p>
          <a:p>
            <a:endParaRPr lang="en-US" sz="1800">
              <a:latin typeface="Ink Free" panose="03080402000500000000" pitchFamily="66" charset="0"/>
            </a:endParaRPr>
          </a:p>
          <a:p>
            <a:r>
              <a:rPr lang="en-US" sz="1800">
                <a:latin typeface="Ink Free" panose="03080402000500000000" pitchFamily="66" charset="0"/>
              </a:rPr>
              <a:t>….</a:t>
            </a:r>
            <a:endParaRPr lang="nl-NL" sz="1800">
              <a:latin typeface="Ink Free" panose="03080402000500000000" pitchFamily="66" charset="0"/>
            </a:endParaRPr>
          </a:p>
          <a:p>
            <a:pPr algn="ctr"/>
            <a:endParaRPr lang="nl-NL"/>
          </a:p>
        </p:txBody>
      </p:sp>
      <p:pic>
        <p:nvPicPr>
          <p:cNvPr id="4" name="Graphic 3" descr="Thumbs up sign with solid fill">
            <a:extLst>
              <a:ext uri="{FF2B5EF4-FFF2-40B4-BE49-F238E27FC236}">
                <a16:creationId xmlns:a16="http://schemas.microsoft.com/office/drawing/2014/main" id="{F0A9308E-1A1D-C78A-1C0B-70B519CDD5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04289" y="1289415"/>
            <a:ext cx="2304448" cy="2304448"/>
          </a:xfrm>
          <a:prstGeom prst="rect">
            <a:avLst/>
          </a:prstGeom>
        </p:spPr>
      </p:pic>
      <p:pic>
        <p:nvPicPr>
          <p:cNvPr id="3" name="Graphic 2" descr="Thumbs up sign with solid fill">
            <a:extLst>
              <a:ext uri="{FF2B5EF4-FFF2-40B4-BE49-F238E27FC236}">
                <a16:creationId xmlns:a16="http://schemas.microsoft.com/office/drawing/2014/main" id="{3C55C627-3911-5EAF-CB5C-3DEEB13050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10010977" y="1840005"/>
            <a:ext cx="2304448" cy="2304448"/>
          </a:xfrm>
          <a:prstGeom prst="rect">
            <a:avLst/>
          </a:prstGeom>
        </p:spPr>
      </p:pic>
      <p:sp>
        <p:nvSpPr>
          <p:cNvPr id="13" name="Text Placeholder 7">
            <a:extLst>
              <a:ext uri="{FF2B5EF4-FFF2-40B4-BE49-F238E27FC236}">
                <a16:creationId xmlns:a16="http://schemas.microsoft.com/office/drawing/2014/main" id="{86554833-6442-C4E7-DBCF-63C2853900BE}"/>
              </a:ext>
            </a:extLst>
          </p:cNvPr>
          <p:cNvSpPr txBox="1">
            <a:spLocks/>
          </p:cNvSpPr>
          <p:nvPr/>
        </p:nvSpPr>
        <p:spPr>
          <a:xfrm>
            <a:off x="472218" y="3123659"/>
            <a:ext cx="5158426" cy="22154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sz="1800">
              <a:latin typeface="Ink Free" panose="03080402000500000000" pitchFamily="66" charset="0"/>
            </a:endParaRPr>
          </a:p>
        </p:txBody>
      </p:sp>
      <p:sp>
        <p:nvSpPr>
          <p:cNvPr id="6" name="Slide Number Placeholder 5">
            <a:extLst>
              <a:ext uri="{FF2B5EF4-FFF2-40B4-BE49-F238E27FC236}">
                <a16:creationId xmlns:a16="http://schemas.microsoft.com/office/drawing/2014/main" id="{B403496D-2906-8B20-3220-E33B6389A476}"/>
              </a:ext>
            </a:extLst>
          </p:cNvPr>
          <p:cNvSpPr>
            <a:spLocks noGrp="1"/>
          </p:cNvSpPr>
          <p:nvPr>
            <p:ph type="sldNum" sz="quarter" idx="10"/>
          </p:nvPr>
        </p:nvSpPr>
        <p:spPr/>
        <p:txBody>
          <a:bodyPr/>
          <a:lstStyle/>
          <a:p>
            <a:fld id="{CC62790A-B937-4AF6-AB00-7B0D9DC7434B}" type="slidenum">
              <a:rPr lang="nl-NL" smtClean="0"/>
              <a:pPr/>
              <a:t>5</a:t>
            </a:fld>
            <a:endParaRPr lang="nl-NL"/>
          </a:p>
        </p:txBody>
      </p:sp>
    </p:spTree>
    <p:extLst>
      <p:ext uri="{BB962C8B-B14F-4D97-AF65-F5344CB8AC3E}">
        <p14:creationId xmlns:p14="http://schemas.microsoft.com/office/powerpoint/2010/main" val="12724042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9923C-6F54-C6A1-A77A-31E851063E44}"/>
              </a:ext>
            </a:extLst>
          </p:cNvPr>
          <p:cNvSpPr>
            <a:spLocks noGrp="1"/>
          </p:cNvSpPr>
          <p:nvPr>
            <p:ph type="title"/>
          </p:nvPr>
        </p:nvSpPr>
        <p:spPr/>
        <p:txBody>
          <a:bodyPr/>
          <a:lstStyle/>
          <a:p>
            <a:r>
              <a:rPr lang="en-US"/>
              <a:t>FEEDBACK ON CV 3 - MICHAEL</a:t>
            </a:r>
          </a:p>
        </p:txBody>
      </p:sp>
      <p:sp>
        <p:nvSpPr>
          <p:cNvPr id="5" name="Rectangle: Rounded Corners 4">
            <a:extLst>
              <a:ext uri="{FF2B5EF4-FFF2-40B4-BE49-F238E27FC236}">
                <a16:creationId xmlns:a16="http://schemas.microsoft.com/office/drawing/2014/main" id="{1FBFB165-DD29-D1C0-6B23-A768BF25B283}"/>
              </a:ext>
            </a:extLst>
          </p:cNvPr>
          <p:cNvSpPr/>
          <p:nvPr/>
        </p:nvSpPr>
        <p:spPr>
          <a:xfrm>
            <a:off x="305808" y="2720321"/>
            <a:ext cx="5624947" cy="2848264"/>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079DFAD2-F770-CDC6-C151-FA0ACEC28E70}"/>
              </a:ext>
            </a:extLst>
          </p:cNvPr>
          <p:cNvSpPr/>
          <p:nvPr/>
        </p:nvSpPr>
        <p:spPr>
          <a:xfrm>
            <a:off x="6408737" y="2720321"/>
            <a:ext cx="5624947" cy="2848264"/>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a:latin typeface="Ink Free" panose="03080402000500000000" pitchFamily="66" charset="0"/>
              </a:rPr>
              <a:t>……</a:t>
            </a:r>
          </a:p>
          <a:p>
            <a:r>
              <a:rPr lang="en-US" sz="1800">
                <a:latin typeface="Ink Free" panose="03080402000500000000" pitchFamily="66" charset="0"/>
              </a:rPr>
              <a:t>…</a:t>
            </a:r>
          </a:p>
          <a:p>
            <a:endParaRPr lang="en-US" sz="1800">
              <a:latin typeface="Ink Free" panose="03080402000500000000" pitchFamily="66" charset="0"/>
            </a:endParaRPr>
          </a:p>
          <a:p>
            <a:r>
              <a:rPr lang="en-US" sz="1800">
                <a:latin typeface="Ink Free" panose="03080402000500000000" pitchFamily="66" charset="0"/>
              </a:rPr>
              <a:t>….</a:t>
            </a:r>
            <a:endParaRPr lang="nl-NL" sz="1800">
              <a:latin typeface="Ink Free" panose="03080402000500000000" pitchFamily="66" charset="0"/>
            </a:endParaRPr>
          </a:p>
          <a:p>
            <a:pPr algn="ctr"/>
            <a:endParaRPr lang="nl-NL"/>
          </a:p>
        </p:txBody>
      </p:sp>
      <p:sp>
        <p:nvSpPr>
          <p:cNvPr id="8" name="Text Placeholder 7">
            <a:extLst>
              <a:ext uri="{FF2B5EF4-FFF2-40B4-BE49-F238E27FC236}">
                <a16:creationId xmlns:a16="http://schemas.microsoft.com/office/drawing/2014/main" id="{EF5943A6-6E17-FCD3-B458-20276D87165E}"/>
              </a:ext>
            </a:extLst>
          </p:cNvPr>
          <p:cNvSpPr txBox="1">
            <a:spLocks/>
          </p:cNvSpPr>
          <p:nvPr/>
        </p:nvSpPr>
        <p:spPr>
          <a:xfrm>
            <a:off x="6727766" y="3148946"/>
            <a:ext cx="5158426" cy="22154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3600">
              <a:latin typeface="Ink Free" panose="03080402000500000000" pitchFamily="66" charset="0"/>
            </a:endParaRPr>
          </a:p>
        </p:txBody>
      </p:sp>
      <p:pic>
        <p:nvPicPr>
          <p:cNvPr id="4" name="Graphic 3" descr="Thumbs up sign with solid fill">
            <a:extLst>
              <a:ext uri="{FF2B5EF4-FFF2-40B4-BE49-F238E27FC236}">
                <a16:creationId xmlns:a16="http://schemas.microsoft.com/office/drawing/2014/main" id="{F0A9308E-1A1D-C78A-1C0B-70B519CDD5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04289" y="1289415"/>
            <a:ext cx="2304448" cy="2304448"/>
          </a:xfrm>
          <a:prstGeom prst="rect">
            <a:avLst/>
          </a:prstGeom>
        </p:spPr>
      </p:pic>
      <p:pic>
        <p:nvPicPr>
          <p:cNvPr id="3" name="Graphic 2" descr="Thumbs up sign with solid fill">
            <a:extLst>
              <a:ext uri="{FF2B5EF4-FFF2-40B4-BE49-F238E27FC236}">
                <a16:creationId xmlns:a16="http://schemas.microsoft.com/office/drawing/2014/main" id="{3C55C627-3911-5EAF-CB5C-3DEEB13050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10010977" y="1840005"/>
            <a:ext cx="2304448" cy="2304448"/>
          </a:xfrm>
          <a:prstGeom prst="rect">
            <a:avLst/>
          </a:prstGeom>
        </p:spPr>
      </p:pic>
      <p:sp>
        <p:nvSpPr>
          <p:cNvPr id="6" name="Slide Number Placeholder 5">
            <a:extLst>
              <a:ext uri="{FF2B5EF4-FFF2-40B4-BE49-F238E27FC236}">
                <a16:creationId xmlns:a16="http://schemas.microsoft.com/office/drawing/2014/main" id="{5B44E01C-D463-FCE8-7584-D0D180820DF7}"/>
              </a:ext>
            </a:extLst>
          </p:cNvPr>
          <p:cNvSpPr>
            <a:spLocks noGrp="1"/>
          </p:cNvSpPr>
          <p:nvPr>
            <p:ph type="sldNum" sz="quarter" idx="10"/>
          </p:nvPr>
        </p:nvSpPr>
        <p:spPr/>
        <p:txBody>
          <a:bodyPr/>
          <a:lstStyle/>
          <a:p>
            <a:fld id="{CC62790A-B937-4AF6-AB00-7B0D9DC7434B}" type="slidenum">
              <a:rPr lang="nl-NL" smtClean="0"/>
              <a:pPr/>
              <a:t>6</a:t>
            </a:fld>
            <a:endParaRPr lang="nl-NL"/>
          </a:p>
        </p:txBody>
      </p:sp>
    </p:spTree>
    <p:extLst>
      <p:ext uri="{BB962C8B-B14F-4D97-AF65-F5344CB8AC3E}">
        <p14:creationId xmlns:p14="http://schemas.microsoft.com/office/powerpoint/2010/main" val="35843126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9923C-6F54-C6A1-A77A-31E851063E44}"/>
              </a:ext>
            </a:extLst>
          </p:cNvPr>
          <p:cNvSpPr>
            <a:spLocks noGrp="1"/>
          </p:cNvSpPr>
          <p:nvPr>
            <p:ph type="title"/>
          </p:nvPr>
        </p:nvSpPr>
        <p:spPr/>
        <p:txBody>
          <a:bodyPr/>
          <a:lstStyle/>
          <a:p>
            <a:r>
              <a:rPr lang="en-US"/>
              <a:t>FEEDBACK ON CV 4 - SAMINA</a:t>
            </a:r>
          </a:p>
        </p:txBody>
      </p:sp>
      <p:sp>
        <p:nvSpPr>
          <p:cNvPr id="5" name="Rectangle: Rounded Corners 4">
            <a:extLst>
              <a:ext uri="{FF2B5EF4-FFF2-40B4-BE49-F238E27FC236}">
                <a16:creationId xmlns:a16="http://schemas.microsoft.com/office/drawing/2014/main" id="{1FBFB165-DD29-D1C0-6B23-A768BF25B283}"/>
              </a:ext>
            </a:extLst>
          </p:cNvPr>
          <p:cNvSpPr/>
          <p:nvPr/>
        </p:nvSpPr>
        <p:spPr>
          <a:xfrm>
            <a:off x="305808" y="2720320"/>
            <a:ext cx="5624947" cy="3837233"/>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Rounded Corners 6">
            <a:extLst>
              <a:ext uri="{FF2B5EF4-FFF2-40B4-BE49-F238E27FC236}">
                <a16:creationId xmlns:a16="http://schemas.microsoft.com/office/drawing/2014/main" id="{079DFAD2-F770-CDC6-C151-FA0ACEC28E70}"/>
              </a:ext>
            </a:extLst>
          </p:cNvPr>
          <p:cNvSpPr/>
          <p:nvPr/>
        </p:nvSpPr>
        <p:spPr>
          <a:xfrm>
            <a:off x="6424084" y="2720320"/>
            <a:ext cx="5624947" cy="3837232"/>
          </a:xfrm>
          <a:prstGeom prst="roundRect">
            <a:avLst>
              <a:gd name="adj" fmla="val 4862"/>
            </a:avLst>
          </a:prstGeom>
          <a:solidFill>
            <a:schemeClr val="bg1"/>
          </a:solidFill>
          <a:ln>
            <a:noFill/>
          </a:ln>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00">
              <a:latin typeface="Ink Free" panose="03080402000500000000" pitchFamily="66" charset="0"/>
            </a:endParaRPr>
          </a:p>
          <a:p>
            <a:r>
              <a:rPr lang="en-US" sz="1800">
                <a:latin typeface="Ink Free" panose="03080402000500000000" pitchFamily="66" charset="0"/>
              </a:rPr>
              <a:t>…</a:t>
            </a:r>
          </a:p>
          <a:p>
            <a:endParaRPr lang="en-US" sz="1800">
              <a:latin typeface="Ink Free" panose="03080402000500000000" pitchFamily="66" charset="0"/>
            </a:endParaRPr>
          </a:p>
          <a:p>
            <a:r>
              <a:rPr lang="en-US" sz="1800">
                <a:latin typeface="Ink Free" panose="03080402000500000000" pitchFamily="66" charset="0"/>
              </a:rPr>
              <a:t>….</a:t>
            </a:r>
            <a:endParaRPr lang="nl-NL" sz="1800">
              <a:latin typeface="Ink Free" panose="03080402000500000000" pitchFamily="66" charset="0"/>
            </a:endParaRPr>
          </a:p>
          <a:p>
            <a:pPr algn="ctr"/>
            <a:endParaRPr lang="nl-NL"/>
          </a:p>
        </p:txBody>
      </p:sp>
      <p:sp>
        <p:nvSpPr>
          <p:cNvPr id="8" name="Text Placeholder 7">
            <a:extLst>
              <a:ext uri="{FF2B5EF4-FFF2-40B4-BE49-F238E27FC236}">
                <a16:creationId xmlns:a16="http://schemas.microsoft.com/office/drawing/2014/main" id="{EF5943A6-6E17-FCD3-B458-20276D87165E}"/>
              </a:ext>
            </a:extLst>
          </p:cNvPr>
          <p:cNvSpPr txBox="1">
            <a:spLocks/>
          </p:cNvSpPr>
          <p:nvPr/>
        </p:nvSpPr>
        <p:spPr>
          <a:xfrm>
            <a:off x="6727766" y="3148946"/>
            <a:ext cx="5158426" cy="22154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nl-NL" sz="3600">
              <a:latin typeface="Ink Free" panose="03080402000500000000" pitchFamily="66" charset="0"/>
            </a:endParaRPr>
          </a:p>
        </p:txBody>
      </p:sp>
      <p:pic>
        <p:nvPicPr>
          <p:cNvPr id="4" name="Graphic 3" descr="Thumbs up sign with solid fill">
            <a:extLst>
              <a:ext uri="{FF2B5EF4-FFF2-40B4-BE49-F238E27FC236}">
                <a16:creationId xmlns:a16="http://schemas.microsoft.com/office/drawing/2014/main" id="{F0A9308E-1A1D-C78A-1C0B-70B519CDD5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19636" y="1072722"/>
            <a:ext cx="2304448" cy="2304448"/>
          </a:xfrm>
          <a:prstGeom prst="rect">
            <a:avLst/>
          </a:prstGeom>
        </p:spPr>
      </p:pic>
      <p:pic>
        <p:nvPicPr>
          <p:cNvPr id="3" name="Graphic 2" descr="Thumbs up sign with solid fill">
            <a:extLst>
              <a:ext uri="{FF2B5EF4-FFF2-40B4-BE49-F238E27FC236}">
                <a16:creationId xmlns:a16="http://schemas.microsoft.com/office/drawing/2014/main" id="{3C55C627-3911-5EAF-CB5C-3DEEB13050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10026324" y="1623312"/>
            <a:ext cx="2304448" cy="2304448"/>
          </a:xfrm>
          <a:prstGeom prst="rect">
            <a:avLst/>
          </a:prstGeom>
        </p:spPr>
      </p:pic>
      <p:sp>
        <p:nvSpPr>
          <p:cNvPr id="11" name="Text Placeholder 7">
            <a:extLst>
              <a:ext uri="{FF2B5EF4-FFF2-40B4-BE49-F238E27FC236}">
                <a16:creationId xmlns:a16="http://schemas.microsoft.com/office/drawing/2014/main" id="{A674E3AD-B180-391F-F9B1-ABB321458AD9}"/>
              </a:ext>
            </a:extLst>
          </p:cNvPr>
          <p:cNvSpPr txBox="1">
            <a:spLocks/>
          </p:cNvSpPr>
          <p:nvPr/>
        </p:nvSpPr>
        <p:spPr>
          <a:xfrm>
            <a:off x="6520220" y="3123659"/>
            <a:ext cx="5158426" cy="22154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sz="1800">
              <a:latin typeface="Ink Free" panose="03080402000500000000" pitchFamily="66" charset="0"/>
            </a:endParaRPr>
          </a:p>
        </p:txBody>
      </p:sp>
      <p:sp>
        <p:nvSpPr>
          <p:cNvPr id="6" name="Slide Number Placeholder 5">
            <a:extLst>
              <a:ext uri="{FF2B5EF4-FFF2-40B4-BE49-F238E27FC236}">
                <a16:creationId xmlns:a16="http://schemas.microsoft.com/office/drawing/2014/main" id="{2F14FECF-D999-C746-A904-1C6B2C68AE00}"/>
              </a:ext>
            </a:extLst>
          </p:cNvPr>
          <p:cNvSpPr>
            <a:spLocks noGrp="1"/>
          </p:cNvSpPr>
          <p:nvPr>
            <p:ph type="sldNum" sz="quarter" idx="10"/>
          </p:nvPr>
        </p:nvSpPr>
        <p:spPr/>
        <p:txBody>
          <a:bodyPr/>
          <a:lstStyle/>
          <a:p>
            <a:fld id="{CC62790A-B937-4AF6-AB00-7B0D9DC7434B}" type="slidenum">
              <a:rPr lang="nl-NL" smtClean="0"/>
              <a:pPr/>
              <a:t>7</a:t>
            </a:fld>
            <a:endParaRPr lang="nl-NL"/>
          </a:p>
        </p:txBody>
      </p:sp>
    </p:spTree>
    <p:extLst>
      <p:ext uri="{BB962C8B-B14F-4D97-AF65-F5344CB8AC3E}">
        <p14:creationId xmlns:p14="http://schemas.microsoft.com/office/powerpoint/2010/main" val="3607206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13EF7-E0C1-C8F4-2CA0-AEE3DE5CF4B0}"/>
              </a:ext>
            </a:extLst>
          </p:cNvPr>
          <p:cNvSpPr>
            <a:spLocks noGrp="1"/>
          </p:cNvSpPr>
          <p:nvPr>
            <p:ph type="title"/>
          </p:nvPr>
        </p:nvSpPr>
        <p:spPr/>
        <p:txBody>
          <a:bodyPr/>
          <a:lstStyle/>
          <a:p>
            <a:r>
              <a:rPr lang="en-US"/>
              <a:t>LIST YOUR ACHIEVEMENTS</a:t>
            </a:r>
          </a:p>
        </p:txBody>
      </p:sp>
      <p:sp>
        <p:nvSpPr>
          <p:cNvPr id="3" name="Text Placeholder 2">
            <a:extLst>
              <a:ext uri="{FF2B5EF4-FFF2-40B4-BE49-F238E27FC236}">
                <a16:creationId xmlns:a16="http://schemas.microsoft.com/office/drawing/2014/main" id="{71F8702A-8137-5837-F31F-E1603C466283}"/>
              </a:ext>
            </a:extLst>
          </p:cNvPr>
          <p:cNvSpPr>
            <a:spLocks noGrp="1"/>
          </p:cNvSpPr>
          <p:nvPr>
            <p:ph type="body" sz="quarter" idx="10"/>
          </p:nvPr>
        </p:nvSpPr>
        <p:spPr/>
        <p:txBody>
          <a:bodyPr/>
          <a:lstStyle/>
          <a:p>
            <a:r>
              <a:rPr lang="en-US"/>
              <a:t>Individual activity</a:t>
            </a:r>
          </a:p>
        </p:txBody>
      </p:sp>
      <p:sp>
        <p:nvSpPr>
          <p:cNvPr id="4" name="Text Placeholder 3">
            <a:extLst>
              <a:ext uri="{FF2B5EF4-FFF2-40B4-BE49-F238E27FC236}">
                <a16:creationId xmlns:a16="http://schemas.microsoft.com/office/drawing/2014/main" id="{DE2CE4B0-7495-FB4F-57B5-69B75624F3DA}"/>
              </a:ext>
            </a:extLst>
          </p:cNvPr>
          <p:cNvSpPr>
            <a:spLocks noGrp="1"/>
          </p:cNvSpPr>
          <p:nvPr>
            <p:ph type="body" sz="quarter" idx="11"/>
          </p:nvPr>
        </p:nvSpPr>
        <p:spPr/>
        <p:txBody>
          <a:bodyPr/>
          <a:lstStyle/>
          <a:p>
            <a:r>
              <a:rPr lang="en-US"/>
              <a:t>10 minutes</a:t>
            </a:r>
          </a:p>
        </p:txBody>
      </p:sp>
      <p:sp>
        <p:nvSpPr>
          <p:cNvPr id="5" name="Text Placeholder 4">
            <a:extLst>
              <a:ext uri="{FF2B5EF4-FFF2-40B4-BE49-F238E27FC236}">
                <a16:creationId xmlns:a16="http://schemas.microsoft.com/office/drawing/2014/main" id="{E79BE60A-CDBD-869C-4683-207046B2F5B7}"/>
              </a:ext>
            </a:extLst>
          </p:cNvPr>
          <p:cNvSpPr>
            <a:spLocks noGrp="1"/>
          </p:cNvSpPr>
          <p:nvPr>
            <p:ph type="body" sz="quarter" idx="12"/>
          </p:nvPr>
        </p:nvSpPr>
        <p:spPr>
          <a:xfrm>
            <a:off x="1879600" y="2963177"/>
            <a:ext cx="7745663" cy="1547004"/>
          </a:xfrm>
        </p:spPr>
        <p:txBody>
          <a:bodyPr/>
          <a:lstStyle/>
          <a:p>
            <a:pPr marL="342900" indent="-342900" algn="l">
              <a:buFont typeface="Arial" panose="020B0604020202020204" pitchFamily="34" charset="0"/>
              <a:buChar char="•"/>
            </a:pPr>
            <a:r>
              <a:rPr lang="en-US" b="0" i="0">
                <a:solidFill>
                  <a:srgbClr val="444444"/>
                </a:solidFill>
                <a:effectLst/>
              </a:rPr>
              <a:t>List your achievements so far</a:t>
            </a:r>
          </a:p>
          <a:p>
            <a:pPr marL="342900" indent="-342900" algn="l">
              <a:buFont typeface="Arial" panose="020B0604020202020204" pitchFamily="34" charset="0"/>
              <a:buChar char="•"/>
            </a:pPr>
            <a:r>
              <a:rPr lang="en-US">
                <a:solidFill>
                  <a:srgbClr val="444444"/>
                </a:solidFill>
              </a:rPr>
              <a:t>I</a:t>
            </a:r>
            <a:r>
              <a:rPr lang="en-US" b="0" i="0">
                <a:solidFill>
                  <a:srgbClr val="444444"/>
                </a:solidFill>
                <a:effectLst/>
              </a:rPr>
              <a:t>dentify the skills that belong to each achievement</a:t>
            </a:r>
          </a:p>
          <a:p>
            <a:pPr marL="342900" indent="-342900" algn="l">
              <a:buFont typeface="Arial" panose="020B0604020202020204" pitchFamily="34" charset="0"/>
              <a:buChar char="•"/>
            </a:pPr>
            <a:r>
              <a:rPr lang="en-US">
                <a:solidFill>
                  <a:srgbClr val="444444"/>
                </a:solidFill>
              </a:rPr>
              <a:t>Use your workbook</a:t>
            </a:r>
            <a:endParaRPr lang="en-US" b="0" i="0">
              <a:solidFill>
                <a:srgbClr val="444444"/>
              </a:solidFill>
              <a:effectLst/>
            </a:endParaRPr>
          </a:p>
        </p:txBody>
      </p:sp>
      <p:sp>
        <p:nvSpPr>
          <p:cNvPr id="6" name="Slide Number Placeholder 5">
            <a:extLst>
              <a:ext uri="{FF2B5EF4-FFF2-40B4-BE49-F238E27FC236}">
                <a16:creationId xmlns:a16="http://schemas.microsoft.com/office/drawing/2014/main" id="{B9978A9C-1480-C5B4-8F21-6115D65D2BBA}"/>
              </a:ext>
            </a:extLst>
          </p:cNvPr>
          <p:cNvSpPr>
            <a:spLocks noGrp="1"/>
          </p:cNvSpPr>
          <p:nvPr>
            <p:ph type="sldNum" sz="quarter" idx="13"/>
          </p:nvPr>
        </p:nvSpPr>
        <p:spPr/>
        <p:txBody>
          <a:bodyPr/>
          <a:lstStyle/>
          <a:p>
            <a:fld id="{CC62790A-B937-4AF6-AB00-7B0D9DC7434B}" type="slidenum">
              <a:rPr lang="nl-NL" smtClean="0"/>
              <a:pPr/>
              <a:t>8</a:t>
            </a:fld>
            <a:endParaRPr lang="nl-NL"/>
          </a:p>
        </p:txBody>
      </p:sp>
    </p:spTree>
    <p:extLst>
      <p:ext uri="{BB962C8B-B14F-4D97-AF65-F5344CB8AC3E}">
        <p14:creationId xmlns:p14="http://schemas.microsoft.com/office/powerpoint/2010/main" val="1225953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311F4-788F-B009-6145-B306FA7D9BB2}"/>
              </a:ext>
            </a:extLst>
          </p:cNvPr>
          <p:cNvSpPr>
            <a:spLocks noGrp="1"/>
          </p:cNvSpPr>
          <p:nvPr>
            <p:ph type="title"/>
          </p:nvPr>
        </p:nvSpPr>
        <p:spPr/>
        <p:txBody>
          <a:bodyPr>
            <a:normAutofit/>
          </a:bodyPr>
          <a:lstStyle/>
          <a:p>
            <a:r>
              <a:rPr lang="en-US"/>
              <a:t>WHAT ARE MY ACHIEVEMENTS?</a:t>
            </a:r>
          </a:p>
        </p:txBody>
      </p:sp>
      <p:grpSp>
        <p:nvGrpSpPr>
          <p:cNvPr id="3" name="Google Shape;660;p19">
            <a:extLst>
              <a:ext uri="{FF2B5EF4-FFF2-40B4-BE49-F238E27FC236}">
                <a16:creationId xmlns:a16="http://schemas.microsoft.com/office/drawing/2014/main" id="{658D7F05-7971-13F3-515D-4493053C70FA}"/>
              </a:ext>
            </a:extLst>
          </p:cNvPr>
          <p:cNvGrpSpPr/>
          <p:nvPr/>
        </p:nvGrpSpPr>
        <p:grpSpPr>
          <a:xfrm>
            <a:off x="328995" y="886717"/>
            <a:ext cx="10707363" cy="2669354"/>
            <a:chOff x="655" y="665973"/>
            <a:chExt cx="10707363" cy="2669354"/>
          </a:xfrm>
        </p:grpSpPr>
        <p:sp>
          <p:nvSpPr>
            <p:cNvPr id="4" name="Google Shape;661;p19">
              <a:extLst>
                <a:ext uri="{FF2B5EF4-FFF2-40B4-BE49-F238E27FC236}">
                  <a16:creationId xmlns:a16="http://schemas.microsoft.com/office/drawing/2014/main" id="{973791E4-4395-A6DA-5C78-7CFE6D86464C}"/>
                </a:ext>
              </a:extLst>
            </p:cNvPr>
            <p:cNvSpPr/>
            <p:nvPr/>
          </p:nvSpPr>
          <p:spPr>
            <a:xfrm>
              <a:off x="655" y="759265"/>
              <a:ext cx="4102126" cy="816457"/>
            </a:xfrm>
            <a:prstGeom prst="roundRect">
              <a:avLst>
                <a:gd name="adj" fmla="val 10000"/>
              </a:avLst>
            </a:prstGeom>
            <a:solidFill>
              <a:srgbClr val="3563E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662;p19">
              <a:extLst>
                <a:ext uri="{FF2B5EF4-FFF2-40B4-BE49-F238E27FC236}">
                  <a16:creationId xmlns:a16="http://schemas.microsoft.com/office/drawing/2014/main" id="{8143B94A-9BD7-3E7E-8E6F-8B9C10341D49}"/>
                </a:ext>
              </a:extLst>
            </p:cNvPr>
            <p:cNvSpPr txBox="1"/>
            <p:nvPr/>
          </p:nvSpPr>
          <p:spPr>
            <a:xfrm>
              <a:off x="655" y="759265"/>
              <a:ext cx="4102126" cy="544304"/>
            </a:xfrm>
            <a:prstGeom prst="rect">
              <a:avLst/>
            </a:prstGeom>
            <a:noFill/>
            <a:ln>
              <a:noFill/>
            </a:ln>
          </p:spPr>
          <p:txBody>
            <a:bodyPr spcFirstLastPara="1" wrap="square" lIns="156450" tIns="156450" rIns="156450" bIns="83800" anchor="t" anchorCtr="0">
              <a:noAutofit/>
            </a:bodyPr>
            <a:lstStyle/>
            <a:p>
              <a:pPr marL="0" marR="0" lvl="0" indent="0" algn="l" rtl="0">
                <a:lnSpc>
                  <a:spcPct val="90000"/>
                </a:lnSpc>
                <a:spcBef>
                  <a:spcPts val="0"/>
                </a:spcBef>
                <a:spcAft>
                  <a:spcPts val="0"/>
                </a:spcAft>
                <a:buNone/>
              </a:pPr>
              <a:r>
                <a:rPr lang="en-GB" sz="2200">
                  <a:solidFill>
                    <a:schemeClr val="lt1"/>
                  </a:solidFill>
                  <a:latin typeface="Arial"/>
                  <a:ea typeface="Arial"/>
                  <a:cs typeface="Arial"/>
                  <a:sym typeface="Arial"/>
                </a:rPr>
                <a:t>Sports, teams and clubs</a:t>
              </a:r>
              <a:endParaRPr/>
            </a:p>
          </p:txBody>
        </p:sp>
        <p:sp>
          <p:nvSpPr>
            <p:cNvPr id="6" name="Google Shape;663;p19">
              <a:extLst>
                <a:ext uri="{FF2B5EF4-FFF2-40B4-BE49-F238E27FC236}">
                  <a16:creationId xmlns:a16="http://schemas.microsoft.com/office/drawing/2014/main" id="{F1641F7B-D6A8-3DDB-6750-34811F20B3F3}"/>
                </a:ext>
              </a:extLst>
            </p:cNvPr>
            <p:cNvSpPr/>
            <p:nvPr/>
          </p:nvSpPr>
          <p:spPr>
            <a:xfrm>
              <a:off x="939432" y="1206347"/>
              <a:ext cx="3768155" cy="2128979"/>
            </a:xfrm>
            <a:prstGeom prst="roundRect">
              <a:avLst>
                <a:gd name="adj" fmla="val 10000"/>
              </a:avLst>
            </a:prstGeom>
            <a:solidFill>
              <a:schemeClr val="lt1">
                <a:alpha val="89803"/>
              </a:schemeClr>
            </a:solidFill>
            <a:ln w="12700" cap="flat" cmpd="sng">
              <a:solidFill>
                <a:srgbClr val="3563E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Google Shape;664;p19">
              <a:extLst>
                <a:ext uri="{FF2B5EF4-FFF2-40B4-BE49-F238E27FC236}">
                  <a16:creationId xmlns:a16="http://schemas.microsoft.com/office/drawing/2014/main" id="{B92A08E3-C5AF-5977-2DDD-9FC806422AD8}"/>
                </a:ext>
              </a:extLst>
            </p:cNvPr>
            <p:cNvSpPr txBox="1"/>
            <p:nvPr/>
          </p:nvSpPr>
          <p:spPr>
            <a:xfrm>
              <a:off x="970664" y="1237580"/>
              <a:ext cx="3705691" cy="1003884"/>
            </a:xfrm>
            <a:prstGeom prst="rect">
              <a:avLst/>
            </a:prstGeom>
            <a:noFill/>
            <a:ln>
              <a:noFill/>
            </a:ln>
          </p:spPr>
          <p:txBody>
            <a:bodyPr spcFirstLastPara="1" wrap="square" lIns="227575" tIns="227575" rIns="227575" bIns="227575" anchor="t" anchorCtr="0">
              <a:noAutofit/>
            </a:bodyPr>
            <a:lstStyle/>
            <a:p>
              <a:pPr marL="285750" marR="0" lvl="1" indent="-82550" algn="l" rtl="0">
                <a:lnSpc>
                  <a:spcPct val="90000"/>
                </a:lnSpc>
                <a:spcBef>
                  <a:spcPts val="0"/>
                </a:spcBef>
                <a:spcAft>
                  <a:spcPts val="0"/>
                </a:spcAft>
                <a:buClr>
                  <a:schemeClr val="dk1"/>
                </a:buClr>
                <a:buSzPts val="3200"/>
                <a:buFont typeface="Arial"/>
                <a:buNone/>
              </a:pPr>
              <a:endParaRPr sz="3200" b="0" i="0" u="none" strike="noStrike" cap="none">
                <a:solidFill>
                  <a:schemeClr val="dk1"/>
                </a:solidFill>
                <a:latin typeface="Arial"/>
                <a:ea typeface="Arial"/>
                <a:cs typeface="Arial"/>
                <a:sym typeface="Arial"/>
              </a:endParaRPr>
            </a:p>
          </p:txBody>
        </p:sp>
        <p:sp>
          <p:nvSpPr>
            <p:cNvPr id="8" name="Google Shape;665;p19">
              <a:extLst>
                <a:ext uri="{FF2B5EF4-FFF2-40B4-BE49-F238E27FC236}">
                  <a16:creationId xmlns:a16="http://schemas.microsoft.com/office/drawing/2014/main" id="{7C6A9790-DB2E-70D3-890F-C5520833583E}"/>
                </a:ext>
              </a:extLst>
            </p:cNvPr>
            <p:cNvSpPr/>
            <p:nvPr/>
          </p:nvSpPr>
          <p:spPr>
            <a:xfrm rot="25864">
              <a:off x="4769892" y="675105"/>
              <a:ext cx="1128830" cy="938161"/>
            </a:xfrm>
            <a:prstGeom prst="rightArrow">
              <a:avLst>
                <a:gd name="adj1" fmla="val 60000"/>
                <a:gd name="adj2" fmla="val 50000"/>
              </a:avLst>
            </a:prstGeom>
            <a:solidFill>
              <a:srgbClr val="ACB6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666;p19">
              <a:extLst>
                <a:ext uri="{FF2B5EF4-FFF2-40B4-BE49-F238E27FC236}">
                  <a16:creationId xmlns:a16="http://schemas.microsoft.com/office/drawing/2014/main" id="{F7F47D50-89F8-D798-510C-4DEA05CD7783}"/>
                </a:ext>
              </a:extLst>
            </p:cNvPr>
            <p:cNvSpPr txBox="1"/>
            <p:nvPr/>
          </p:nvSpPr>
          <p:spPr>
            <a:xfrm rot="25864">
              <a:off x="4769896" y="861678"/>
              <a:ext cx="847382" cy="562897"/>
            </a:xfrm>
            <a:prstGeom prst="rect">
              <a:avLst/>
            </a:prstGeom>
            <a:no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None/>
              </a:pPr>
              <a:endParaRPr sz="1800">
                <a:solidFill>
                  <a:schemeClr val="lt1"/>
                </a:solidFill>
                <a:latin typeface="Arial"/>
                <a:ea typeface="Arial"/>
                <a:cs typeface="Arial"/>
                <a:sym typeface="Arial"/>
              </a:endParaRPr>
            </a:p>
          </p:txBody>
        </p:sp>
        <p:sp>
          <p:nvSpPr>
            <p:cNvPr id="10" name="Google Shape;667;p19">
              <a:extLst>
                <a:ext uri="{FF2B5EF4-FFF2-40B4-BE49-F238E27FC236}">
                  <a16:creationId xmlns:a16="http://schemas.microsoft.com/office/drawing/2014/main" id="{7B3094E7-AFA6-1018-827C-AC95829A97AB}"/>
                </a:ext>
              </a:extLst>
            </p:cNvPr>
            <p:cNvSpPr/>
            <p:nvPr/>
          </p:nvSpPr>
          <p:spPr>
            <a:xfrm>
              <a:off x="6232621" y="665973"/>
              <a:ext cx="3768155" cy="1000309"/>
            </a:xfrm>
            <a:prstGeom prst="roundRect">
              <a:avLst>
                <a:gd name="adj" fmla="val 10000"/>
              </a:avLst>
            </a:prstGeom>
            <a:solidFill>
              <a:srgbClr val="3563E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668;p19">
              <a:extLst>
                <a:ext uri="{FF2B5EF4-FFF2-40B4-BE49-F238E27FC236}">
                  <a16:creationId xmlns:a16="http://schemas.microsoft.com/office/drawing/2014/main" id="{09527144-CA82-22FA-5BC0-30521C036B84}"/>
                </a:ext>
              </a:extLst>
            </p:cNvPr>
            <p:cNvSpPr txBox="1"/>
            <p:nvPr/>
          </p:nvSpPr>
          <p:spPr>
            <a:xfrm>
              <a:off x="6232621" y="665973"/>
              <a:ext cx="3768155" cy="666873"/>
            </a:xfrm>
            <a:prstGeom prst="rect">
              <a:avLst/>
            </a:prstGeom>
            <a:noFill/>
            <a:ln>
              <a:noFill/>
            </a:ln>
          </p:spPr>
          <p:txBody>
            <a:bodyPr spcFirstLastPara="1" wrap="square" lIns="156450" tIns="156450" rIns="156450" bIns="83800" anchor="t" anchorCtr="0">
              <a:noAutofit/>
            </a:bodyPr>
            <a:lstStyle/>
            <a:p>
              <a:pPr marL="0" marR="0" lvl="0" indent="0" algn="l" rtl="0">
                <a:lnSpc>
                  <a:spcPct val="90000"/>
                </a:lnSpc>
                <a:spcBef>
                  <a:spcPts val="0"/>
                </a:spcBef>
                <a:spcAft>
                  <a:spcPts val="0"/>
                </a:spcAft>
                <a:buNone/>
              </a:pPr>
              <a:r>
                <a:rPr lang="en-GB" sz="2200">
                  <a:solidFill>
                    <a:schemeClr val="lt1"/>
                  </a:solidFill>
                  <a:latin typeface="Arial"/>
                  <a:ea typeface="Arial"/>
                  <a:cs typeface="Arial"/>
                  <a:sym typeface="Arial"/>
                </a:rPr>
                <a:t>Skills</a:t>
              </a:r>
              <a:endParaRPr/>
            </a:p>
          </p:txBody>
        </p:sp>
        <p:sp>
          <p:nvSpPr>
            <p:cNvPr id="12" name="Google Shape;669;p19">
              <a:extLst>
                <a:ext uri="{FF2B5EF4-FFF2-40B4-BE49-F238E27FC236}">
                  <a16:creationId xmlns:a16="http://schemas.microsoft.com/office/drawing/2014/main" id="{0A9FDCD6-291E-7A77-C7C7-C8631AEB6C79}"/>
                </a:ext>
              </a:extLst>
            </p:cNvPr>
            <p:cNvSpPr/>
            <p:nvPr/>
          </p:nvSpPr>
          <p:spPr>
            <a:xfrm>
              <a:off x="6939863" y="1067327"/>
              <a:ext cx="3768155" cy="2267999"/>
            </a:xfrm>
            <a:prstGeom prst="roundRect">
              <a:avLst>
                <a:gd name="adj" fmla="val 10000"/>
              </a:avLst>
            </a:prstGeom>
            <a:solidFill>
              <a:schemeClr val="lt1">
                <a:alpha val="89803"/>
              </a:schemeClr>
            </a:solidFill>
            <a:ln w="12700" cap="flat" cmpd="sng">
              <a:solidFill>
                <a:srgbClr val="3563E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670;p19">
              <a:extLst>
                <a:ext uri="{FF2B5EF4-FFF2-40B4-BE49-F238E27FC236}">
                  <a16:creationId xmlns:a16="http://schemas.microsoft.com/office/drawing/2014/main" id="{64DAC12D-42F8-0736-5AF8-EF4D1C8514AF}"/>
                </a:ext>
              </a:extLst>
            </p:cNvPr>
            <p:cNvSpPr txBox="1"/>
            <p:nvPr/>
          </p:nvSpPr>
          <p:spPr>
            <a:xfrm>
              <a:off x="6995536" y="1123000"/>
              <a:ext cx="3656809" cy="2212327"/>
            </a:xfrm>
            <a:prstGeom prst="rect">
              <a:avLst/>
            </a:prstGeom>
            <a:noFill/>
            <a:ln>
              <a:noFill/>
            </a:ln>
          </p:spPr>
          <p:txBody>
            <a:bodyPr spcFirstLastPara="1" wrap="square" lIns="170675" tIns="170675" rIns="170675" bIns="170675" anchor="t" anchorCtr="0">
              <a:noAutofit/>
            </a:bodyPr>
            <a:lstStyle/>
            <a:p>
              <a:pPr marL="228600" marR="0" lvl="1" indent="-76200" algn="l" rtl="0">
                <a:lnSpc>
                  <a:spcPct val="90000"/>
                </a:lnSpc>
                <a:spcBef>
                  <a:spcPts val="0"/>
                </a:spcBef>
                <a:spcAft>
                  <a:spcPts val="0"/>
                </a:spcAft>
                <a:buClr>
                  <a:schemeClr val="dk1"/>
                </a:buClr>
                <a:buSzPts val="2400"/>
                <a:buFont typeface="Arial"/>
                <a:buNone/>
              </a:pPr>
              <a:endParaRPr sz="2400" b="0" i="0" u="none" strike="noStrike" cap="none">
                <a:solidFill>
                  <a:schemeClr val="dk1"/>
                </a:solidFill>
                <a:latin typeface="Arial"/>
                <a:ea typeface="Arial"/>
                <a:cs typeface="Arial"/>
                <a:sym typeface="Arial"/>
              </a:endParaRPr>
            </a:p>
          </p:txBody>
        </p:sp>
      </p:grpSp>
      <p:grpSp>
        <p:nvGrpSpPr>
          <p:cNvPr id="14" name="Google Shape;671;p19">
            <a:extLst>
              <a:ext uri="{FF2B5EF4-FFF2-40B4-BE49-F238E27FC236}">
                <a16:creationId xmlns:a16="http://schemas.microsoft.com/office/drawing/2014/main" id="{47A20A7B-E6F6-6598-031D-411E02BB4A90}"/>
              </a:ext>
            </a:extLst>
          </p:cNvPr>
          <p:cNvGrpSpPr/>
          <p:nvPr/>
        </p:nvGrpSpPr>
        <p:grpSpPr>
          <a:xfrm>
            <a:off x="327143" y="888278"/>
            <a:ext cx="10709215" cy="2670103"/>
            <a:chOff x="55095" y="1930408"/>
            <a:chExt cx="10709215" cy="2670103"/>
          </a:xfrm>
        </p:grpSpPr>
        <p:sp>
          <p:nvSpPr>
            <p:cNvPr id="15" name="Google Shape;672;p19">
              <a:extLst>
                <a:ext uri="{FF2B5EF4-FFF2-40B4-BE49-F238E27FC236}">
                  <a16:creationId xmlns:a16="http://schemas.microsoft.com/office/drawing/2014/main" id="{D521F1CA-B81F-74DC-5FD0-B54B885909E8}"/>
                </a:ext>
              </a:extLst>
            </p:cNvPr>
            <p:cNvSpPr/>
            <p:nvPr/>
          </p:nvSpPr>
          <p:spPr>
            <a:xfrm>
              <a:off x="55095" y="1968414"/>
              <a:ext cx="4102126" cy="887629"/>
            </a:xfrm>
            <a:custGeom>
              <a:avLst/>
              <a:gdLst/>
              <a:ahLst/>
              <a:cxnLst/>
              <a:rect l="l" t="t" r="r" b="b"/>
              <a:pathLst>
                <a:path w="4102126" h="887629" extrusionOk="0">
                  <a:moveTo>
                    <a:pt x="0" y="88763"/>
                  </a:moveTo>
                  <a:cubicBezTo>
                    <a:pt x="0" y="39741"/>
                    <a:pt x="39741" y="0"/>
                    <a:pt x="88763" y="0"/>
                  </a:cubicBezTo>
                  <a:lnTo>
                    <a:pt x="4013363" y="0"/>
                  </a:lnTo>
                  <a:cubicBezTo>
                    <a:pt x="4062385" y="0"/>
                    <a:pt x="4102126" y="39741"/>
                    <a:pt x="4102126" y="88763"/>
                  </a:cubicBezTo>
                  <a:lnTo>
                    <a:pt x="4102126" y="798866"/>
                  </a:lnTo>
                  <a:cubicBezTo>
                    <a:pt x="4102126" y="847888"/>
                    <a:pt x="4062385" y="887629"/>
                    <a:pt x="4013363" y="887629"/>
                  </a:cubicBezTo>
                  <a:lnTo>
                    <a:pt x="88763" y="887629"/>
                  </a:lnTo>
                  <a:cubicBezTo>
                    <a:pt x="39741" y="887629"/>
                    <a:pt x="0" y="847888"/>
                    <a:pt x="0" y="798866"/>
                  </a:cubicBezTo>
                  <a:lnTo>
                    <a:pt x="0" y="88763"/>
                  </a:lnTo>
                  <a:close/>
                </a:path>
              </a:pathLst>
            </a:custGeom>
            <a:solidFill>
              <a:srgbClr val="FECC17"/>
            </a:solidFill>
            <a:ln w="12700" cap="flat" cmpd="sng">
              <a:solidFill>
                <a:schemeClr val="lt1"/>
              </a:solidFill>
              <a:prstDash val="solid"/>
              <a:miter lim="800000"/>
              <a:headEnd type="none" w="sm" len="sm"/>
              <a:tailEnd type="none" w="sm" len="sm"/>
            </a:ln>
          </p:spPr>
          <p:txBody>
            <a:bodyPr spcFirstLastPara="1" wrap="square" lIns="170675" tIns="170675" rIns="170675" bIns="38730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GB" sz="2400">
                  <a:solidFill>
                    <a:schemeClr val="tx1"/>
                  </a:solidFill>
                  <a:latin typeface="Arial"/>
                  <a:ea typeface="Arial"/>
                  <a:cs typeface="Arial"/>
                  <a:sym typeface="Arial"/>
                </a:rPr>
                <a:t>Sports, teams and clubs</a:t>
              </a:r>
              <a:endParaRPr>
                <a:solidFill>
                  <a:schemeClr val="tx1"/>
                </a:solidFill>
              </a:endParaRPr>
            </a:p>
          </p:txBody>
        </p:sp>
        <p:sp>
          <p:nvSpPr>
            <p:cNvPr id="17" name="Google Shape;674;p19">
              <a:extLst>
                <a:ext uri="{FF2B5EF4-FFF2-40B4-BE49-F238E27FC236}">
                  <a16:creationId xmlns:a16="http://schemas.microsoft.com/office/drawing/2014/main" id="{44AF4E57-F451-D0BB-7E41-965BB740AAE5}"/>
                </a:ext>
              </a:extLst>
            </p:cNvPr>
            <p:cNvSpPr/>
            <p:nvPr/>
          </p:nvSpPr>
          <p:spPr>
            <a:xfrm rot="14434">
              <a:off x="4824635" y="1934803"/>
              <a:ext cx="1128856" cy="938161"/>
            </a:xfrm>
            <a:custGeom>
              <a:avLst/>
              <a:gdLst/>
              <a:ahLst/>
              <a:cxnLst/>
              <a:rect l="l" t="t" r="r" b="b"/>
              <a:pathLst>
                <a:path w="1128856" h="938161" extrusionOk="0">
                  <a:moveTo>
                    <a:pt x="0" y="187632"/>
                  </a:moveTo>
                  <a:lnTo>
                    <a:pt x="659776" y="187632"/>
                  </a:lnTo>
                  <a:lnTo>
                    <a:pt x="659776" y="0"/>
                  </a:lnTo>
                  <a:lnTo>
                    <a:pt x="1128856" y="469081"/>
                  </a:lnTo>
                  <a:lnTo>
                    <a:pt x="659776" y="938161"/>
                  </a:lnTo>
                  <a:lnTo>
                    <a:pt x="659776" y="750529"/>
                  </a:lnTo>
                  <a:lnTo>
                    <a:pt x="0" y="750529"/>
                  </a:lnTo>
                  <a:lnTo>
                    <a:pt x="0" y="187632"/>
                  </a:lnTo>
                  <a:close/>
                </a:path>
              </a:pathLst>
            </a:custGeom>
            <a:solidFill>
              <a:srgbClr val="FECC17"/>
            </a:solidFill>
            <a:ln>
              <a:noFill/>
            </a:ln>
          </p:spPr>
          <p:txBody>
            <a:bodyPr spcFirstLastPara="1" wrap="square" lIns="0" tIns="187625" rIns="281425" bIns="187625" anchor="ctr" anchorCtr="0">
              <a:noAutofit/>
            </a:bodyPr>
            <a:lstStyle/>
            <a:p>
              <a:pPr marL="0" marR="0" lvl="0" indent="0" algn="ctr" rtl="0">
                <a:lnSpc>
                  <a:spcPct val="90000"/>
                </a:lnSpc>
                <a:spcBef>
                  <a:spcPts val="0"/>
                </a:spcBef>
                <a:spcAft>
                  <a:spcPts val="0"/>
                </a:spcAft>
                <a:buClr>
                  <a:schemeClr val="dk1"/>
                </a:buClr>
                <a:buSzPts val="1900"/>
                <a:buFont typeface="Arial"/>
                <a:buNone/>
              </a:pPr>
              <a:endParaRPr sz="1900">
                <a:solidFill>
                  <a:schemeClr val="lt1"/>
                </a:solidFill>
                <a:latin typeface="Arial"/>
                <a:ea typeface="Arial"/>
                <a:cs typeface="Arial"/>
                <a:sym typeface="Arial"/>
              </a:endParaRPr>
            </a:p>
          </p:txBody>
        </p:sp>
        <p:sp>
          <p:nvSpPr>
            <p:cNvPr id="18" name="Google Shape;675;p19">
              <a:extLst>
                <a:ext uri="{FF2B5EF4-FFF2-40B4-BE49-F238E27FC236}">
                  <a16:creationId xmlns:a16="http://schemas.microsoft.com/office/drawing/2014/main" id="{4AA8464A-CC71-242C-3353-E3A230AD4666}"/>
                </a:ext>
              </a:extLst>
            </p:cNvPr>
            <p:cNvSpPr/>
            <p:nvPr/>
          </p:nvSpPr>
          <p:spPr>
            <a:xfrm>
              <a:off x="6287131" y="1930408"/>
              <a:ext cx="3768155" cy="994987"/>
            </a:xfrm>
            <a:custGeom>
              <a:avLst/>
              <a:gdLst/>
              <a:ahLst/>
              <a:cxnLst/>
              <a:rect l="l" t="t" r="r" b="b"/>
              <a:pathLst>
                <a:path w="3768155" h="915199" extrusionOk="0">
                  <a:moveTo>
                    <a:pt x="0" y="91520"/>
                  </a:moveTo>
                  <a:cubicBezTo>
                    <a:pt x="0" y="40975"/>
                    <a:pt x="40975" y="0"/>
                    <a:pt x="91520" y="0"/>
                  </a:cubicBezTo>
                  <a:lnTo>
                    <a:pt x="3676635" y="0"/>
                  </a:lnTo>
                  <a:cubicBezTo>
                    <a:pt x="3727180" y="0"/>
                    <a:pt x="3768155" y="40975"/>
                    <a:pt x="3768155" y="91520"/>
                  </a:cubicBezTo>
                  <a:lnTo>
                    <a:pt x="3768155" y="823679"/>
                  </a:lnTo>
                  <a:cubicBezTo>
                    <a:pt x="3768155" y="874224"/>
                    <a:pt x="3727180" y="915199"/>
                    <a:pt x="3676635" y="915199"/>
                  </a:cubicBezTo>
                  <a:lnTo>
                    <a:pt x="91520" y="915199"/>
                  </a:lnTo>
                  <a:cubicBezTo>
                    <a:pt x="40975" y="915199"/>
                    <a:pt x="0" y="874224"/>
                    <a:pt x="0" y="823679"/>
                  </a:cubicBezTo>
                  <a:lnTo>
                    <a:pt x="0" y="91520"/>
                  </a:lnTo>
                  <a:close/>
                </a:path>
              </a:pathLst>
            </a:custGeom>
            <a:solidFill>
              <a:srgbClr val="FECC17"/>
            </a:solidFill>
            <a:ln w="12700" cap="flat" cmpd="sng">
              <a:solidFill>
                <a:schemeClr val="lt1"/>
              </a:solidFill>
              <a:prstDash val="solid"/>
              <a:miter lim="800000"/>
              <a:headEnd type="none" w="sm" len="sm"/>
              <a:tailEnd type="none" w="sm" len="sm"/>
            </a:ln>
          </p:spPr>
          <p:txBody>
            <a:bodyPr spcFirstLastPara="1" wrap="square" lIns="170675" tIns="170675" rIns="170675" bIns="39650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GB" sz="2400">
                  <a:solidFill>
                    <a:schemeClr val="tx1"/>
                  </a:solidFill>
                  <a:latin typeface="Arial"/>
                  <a:ea typeface="Arial"/>
                  <a:cs typeface="Arial"/>
                  <a:sym typeface="Arial"/>
                </a:rPr>
                <a:t>Skills</a:t>
              </a:r>
              <a:endParaRPr>
                <a:solidFill>
                  <a:schemeClr val="tx1"/>
                </a:solidFill>
              </a:endParaRPr>
            </a:p>
          </p:txBody>
        </p:sp>
        <p:sp>
          <p:nvSpPr>
            <p:cNvPr id="19" name="Google Shape;676;p19">
              <a:extLst>
                <a:ext uri="{FF2B5EF4-FFF2-40B4-BE49-F238E27FC236}">
                  <a16:creationId xmlns:a16="http://schemas.microsoft.com/office/drawing/2014/main" id="{2B90290B-12D1-7CB7-C0A3-0CC29751C4BD}"/>
                </a:ext>
              </a:extLst>
            </p:cNvPr>
            <p:cNvSpPr/>
            <p:nvPr/>
          </p:nvSpPr>
          <p:spPr>
            <a:xfrm>
              <a:off x="6996155" y="2317385"/>
              <a:ext cx="3768155" cy="2283126"/>
            </a:xfrm>
            <a:custGeom>
              <a:avLst/>
              <a:gdLst/>
              <a:ahLst/>
              <a:cxnLst/>
              <a:rect l="l" t="t" r="r" b="b"/>
              <a:pathLst>
                <a:path w="3768155" h="2268000" extrusionOk="0">
                  <a:moveTo>
                    <a:pt x="0" y="226800"/>
                  </a:moveTo>
                  <a:cubicBezTo>
                    <a:pt x="0" y="101542"/>
                    <a:pt x="101542" y="0"/>
                    <a:pt x="226800" y="0"/>
                  </a:cubicBezTo>
                  <a:lnTo>
                    <a:pt x="3541355" y="0"/>
                  </a:lnTo>
                  <a:cubicBezTo>
                    <a:pt x="3666613" y="0"/>
                    <a:pt x="3768155" y="101542"/>
                    <a:pt x="3768155" y="226800"/>
                  </a:cubicBezTo>
                  <a:lnTo>
                    <a:pt x="3768155" y="2041200"/>
                  </a:lnTo>
                  <a:cubicBezTo>
                    <a:pt x="3768155" y="2166458"/>
                    <a:pt x="3666613" y="2268000"/>
                    <a:pt x="3541355" y="2268000"/>
                  </a:cubicBezTo>
                  <a:lnTo>
                    <a:pt x="226800" y="2268000"/>
                  </a:lnTo>
                  <a:cubicBezTo>
                    <a:pt x="101542" y="2268000"/>
                    <a:pt x="0" y="2166458"/>
                    <a:pt x="0" y="2041200"/>
                  </a:cubicBezTo>
                  <a:lnTo>
                    <a:pt x="0" y="226800"/>
                  </a:lnTo>
                  <a:close/>
                </a:path>
              </a:pathLst>
            </a:custGeom>
            <a:solidFill>
              <a:schemeClr val="lt1">
                <a:alpha val="89803"/>
              </a:schemeClr>
            </a:solidFill>
            <a:ln w="12700" cap="flat" cmpd="sng">
              <a:solidFill>
                <a:srgbClr val="FECC17"/>
              </a:solidFill>
              <a:prstDash val="solid"/>
              <a:miter lim="800000"/>
              <a:headEnd type="none" w="sm" len="sm"/>
              <a:tailEnd type="none" w="sm" len="sm"/>
            </a:ln>
          </p:spPr>
          <p:txBody>
            <a:bodyPr spcFirstLastPara="1" wrap="square" lIns="237100" tIns="237100" rIns="237100" bIns="237100" anchor="t" anchorCtr="0">
              <a:noAutofit/>
            </a:bodyPr>
            <a:lstStyle/>
            <a:p>
              <a:pPr marL="228600" marR="0" lvl="1" indent="-228600" algn="l" rtl="0">
                <a:lnSpc>
                  <a:spcPct val="90000"/>
                </a:lnSpc>
                <a:spcBef>
                  <a:spcPts val="0"/>
                </a:spcBef>
                <a:spcAft>
                  <a:spcPts val="0"/>
                </a:spcAft>
                <a:buClr>
                  <a:schemeClr val="dk1"/>
                </a:buClr>
                <a:buSzPts val="2400"/>
                <a:buFont typeface="Arial"/>
                <a:buChar char="•"/>
              </a:pPr>
              <a:r>
                <a:rPr lang="en-GB" sz="2400" b="0" i="0" u="none" strike="noStrike" cap="none">
                  <a:solidFill>
                    <a:schemeClr val="dk1"/>
                  </a:solidFill>
                  <a:latin typeface="Arial"/>
                  <a:ea typeface="Arial"/>
                  <a:cs typeface="Arial"/>
                  <a:sym typeface="Arial"/>
                </a:rPr>
                <a:t>Teamwork</a:t>
              </a:r>
              <a:endParaRPr/>
            </a:p>
            <a:p>
              <a:pPr marL="228600" marR="0" lvl="1" indent="-228600" algn="l" rtl="0">
                <a:lnSpc>
                  <a:spcPct val="90000"/>
                </a:lnSpc>
                <a:spcBef>
                  <a:spcPts val="360"/>
                </a:spcBef>
                <a:spcAft>
                  <a:spcPts val="0"/>
                </a:spcAft>
                <a:buClr>
                  <a:schemeClr val="dk1"/>
                </a:buClr>
                <a:buSzPts val="2400"/>
                <a:buFont typeface="Arial"/>
                <a:buChar char="•"/>
              </a:pPr>
              <a:r>
                <a:rPr lang="en-GB" sz="2400" b="0" i="0" u="none" strike="noStrike" cap="none">
                  <a:solidFill>
                    <a:schemeClr val="dk1"/>
                  </a:solidFill>
                  <a:latin typeface="Arial"/>
                  <a:ea typeface="Arial"/>
                  <a:cs typeface="Arial"/>
                  <a:sym typeface="Arial"/>
                </a:rPr>
                <a:t>Resilience </a:t>
              </a:r>
              <a:endParaRPr/>
            </a:p>
            <a:p>
              <a:pPr marL="228600" marR="0" lvl="1" indent="-228600" algn="l" rtl="0">
                <a:lnSpc>
                  <a:spcPct val="90000"/>
                </a:lnSpc>
                <a:spcBef>
                  <a:spcPts val="360"/>
                </a:spcBef>
                <a:spcAft>
                  <a:spcPts val="0"/>
                </a:spcAft>
                <a:buClr>
                  <a:schemeClr val="dk1"/>
                </a:buClr>
                <a:buSzPts val="2400"/>
                <a:buFont typeface="Arial"/>
                <a:buChar char="•"/>
              </a:pPr>
              <a:r>
                <a:rPr lang="en-GB" sz="2400" b="0" i="0" u="none" strike="noStrike" cap="none">
                  <a:solidFill>
                    <a:schemeClr val="dk1"/>
                  </a:solidFill>
                  <a:latin typeface="Arial"/>
                  <a:ea typeface="Arial"/>
                  <a:cs typeface="Arial"/>
                  <a:sym typeface="Arial"/>
                </a:rPr>
                <a:t>Self motivation</a:t>
              </a:r>
              <a:endParaRPr/>
            </a:p>
            <a:p>
              <a:pPr marL="228600" marR="0" lvl="1" indent="-228600" algn="l" rtl="0">
                <a:lnSpc>
                  <a:spcPct val="90000"/>
                </a:lnSpc>
                <a:spcBef>
                  <a:spcPts val="360"/>
                </a:spcBef>
                <a:spcAft>
                  <a:spcPts val="0"/>
                </a:spcAft>
                <a:buClr>
                  <a:schemeClr val="dk1"/>
                </a:buClr>
                <a:buSzPts val="2400"/>
                <a:buFont typeface="Arial"/>
                <a:buChar char="•"/>
              </a:pPr>
              <a:r>
                <a:rPr lang="en-GB" sz="2400" b="0" i="0" u="none" strike="noStrike" cap="none">
                  <a:solidFill>
                    <a:schemeClr val="dk1"/>
                  </a:solidFill>
                  <a:latin typeface="Arial"/>
                  <a:ea typeface="Arial"/>
                  <a:cs typeface="Arial"/>
                  <a:sym typeface="Arial"/>
                </a:rPr>
                <a:t>Time management</a:t>
              </a:r>
              <a:endParaRPr/>
            </a:p>
            <a:p>
              <a:pPr marL="228600" marR="0" lvl="1" indent="-228600" algn="l" rtl="0">
                <a:lnSpc>
                  <a:spcPct val="90000"/>
                </a:lnSpc>
                <a:spcBef>
                  <a:spcPts val="360"/>
                </a:spcBef>
                <a:spcAft>
                  <a:spcPts val="0"/>
                </a:spcAft>
                <a:buClr>
                  <a:schemeClr val="dk1"/>
                </a:buClr>
                <a:buSzPts val="2400"/>
                <a:buFont typeface="Arial"/>
                <a:buChar char="•"/>
              </a:pPr>
              <a:r>
                <a:rPr lang="en-GB" sz="2400" b="0" i="0" u="none" strike="noStrike" cap="none">
                  <a:solidFill>
                    <a:schemeClr val="dk1"/>
                  </a:solidFill>
                  <a:latin typeface="Arial"/>
                  <a:ea typeface="Arial"/>
                  <a:cs typeface="Arial"/>
                  <a:sym typeface="Arial"/>
                </a:rPr>
                <a:t>Leadership</a:t>
              </a:r>
              <a:endParaRPr/>
            </a:p>
          </p:txBody>
        </p:sp>
        <p:sp>
          <p:nvSpPr>
            <p:cNvPr id="20" name="Google Shape;676;p19">
              <a:extLst>
                <a:ext uri="{FF2B5EF4-FFF2-40B4-BE49-F238E27FC236}">
                  <a16:creationId xmlns:a16="http://schemas.microsoft.com/office/drawing/2014/main" id="{3E605E58-8D55-D29A-A695-93862A3FBF97}"/>
                </a:ext>
              </a:extLst>
            </p:cNvPr>
            <p:cNvSpPr/>
            <p:nvPr/>
          </p:nvSpPr>
          <p:spPr>
            <a:xfrm>
              <a:off x="992102" y="2469221"/>
              <a:ext cx="3768155" cy="2128979"/>
            </a:xfrm>
            <a:custGeom>
              <a:avLst/>
              <a:gdLst/>
              <a:ahLst/>
              <a:cxnLst/>
              <a:rect l="l" t="t" r="r" b="b"/>
              <a:pathLst>
                <a:path w="3768155" h="2268000" extrusionOk="0">
                  <a:moveTo>
                    <a:pt x="0" y="226800"/>
                  </a:moveTo>
                  <a:cubicBezTo>
                    <a:pt x="0" y="101542"/>
                    <a:pt x="101542" y="0"/>
                    <a:pt x="226800" y="0"/>
                  </a:cubicBezTo>
                  <a:lnTo>
                    <a:pt x="3541355" y="0"/>
                  </a:lnTo>
                  <a:cubicBezTo>
                    <a:pt x="3666613" y="0"/>
                    <a:pt x="3768155" y="101542"/>
                    <a:pt x="3768155" y="226800"/>
                  </a:cubicBezTo>
                  <a:lnTo>
                    <a:pt x="3768155" y="2041200"/>
                  </a:lnTo>
                  <a:cubicBezTo>
                    <a:pt x="3768155" y="2166458"/>
                    <a:pt x="3666613" y="2268000"/>
                    <a:pt x="3541355" y="2268000"/>
                  </a:cubicBezTo>
                  <a:lnTo>
                    <a:pt x="226800" y="2268000"/>
                  </a:lnTo>
                  <a:cubicBezTo>
                    <a:pt x="101542" y="2268000"/>
                    <a:pt x="0" y="2166458"/>
                    <a:pt x="0" y="2041200"/>
                  </a:cubicBezTo>
                  <a:lnTo>
                    <a:pt x="0" y="226800"/>
                  </a:lnTo>
                  <a:close/>
                </a:path>
              </a:pathLst>
            </a:custGeom>
            <a:solidFill>
              <a:schemeClr val="lt1">
                <a:alpha val="89803"/>
              </a:schemeClr>
            </a:solidFill>
            <a:ln w="12700" cap="flat" cmpd="sng">
              <a:solidFill>
                <a:srgbClr val="FECC17"/>
              </a:solidFill>
              <a:prstDash val="solid"/>
              <a:miter lim="800000"/>
              <a:headEnd type="none" w="sm" len="sm"/>
              <a:tailEnd type="none" w="sm" len="sm"/>
            </a:ln>
          </p:spPr>
          <p:txBody>
            <a:bodyPr spcFirstLastPara="1" wrap="square" lIns="237100" tIns="237100" rIns="237100" bIns="237100" anchor="t" anchorCtr="0">
              <a:noAutofit/>
            </a:bodyPr>
            <a:lstStyle/>
            <a:p>
              <a:pPr marL="0" marR="0" lvl="1" algn="l" rtl="0">
                <a:lnSpc>
                  <a:spcPct val="90000"/>
                </a:lnSpc>
                <a:spcBef>
                  <a:spcPts val="0"/>
                </a:spcBef>
                <a:spcAft>
                  <a:spcPts val="0"/>
                </a:spcAft>
                <a:buClr>
                  <a:schemeClr val="dk1"/>
                </a:buClr>
                <a:buSzPts val="2400"/>
              </a:pPr>
              <a:r>
                <a:rPr lang="en-US" sz="2400" b="0" i="0" u="none" strike="noStrike" cap="none">
                  <a:solidFill>
                    <a:schemeClr val="dk1"/>
                  </a:solidFill>
                  <a:latin typeface="Arial"/>
                  <a:ea typeface="Arial"/>
                  <a:cs typeface="Arial"/>
                  <a:sym typeface="Arial"/>
                </a:rPr>
                <a:t>Played in the school football team</a:t>
              </a:r>
              <a:endParaRPr/>
            </a:p>
          </p:txBody>
        </p:sp>
      </p:grpSp>
      <p:grpSp>
        <p:nvGrpSpPr>
          <p:cNvPr id="21" name="Google Shape;660;p19">
            <a:extLst>
              <a:ext uri="{FF2B5EF4-FFF2-40B4-BE49-F238E27FC236}">
                <a16:creationId xmlns:a16="http://schemas.microsoft.com/office/drawing/2014/main" id="{A1FBD147-7DE5-C938-7E6A-F5D4907FA19A}"/>
              </a:ext>
            </a:extLst>
          </p:cNvPr>
          <p:cNvGrpSpPr/>
          <p:nvPr/>
        </p:nvGrpSpPr>
        <p:grpSpPr>
          <a:xfrm>
            <a:off x="328995" y="3943797"/>
            <a:ext cx="10707363" cy="2669354"/>
            <a:chOff x="655" y="665973"/>
            <a:chExt cx="10707363" cy="2669354"/>
          </a:xfrm>
        </p:grpSpPr>
        <p:sp>
          <p:nvSpPr>
            <p:cNvPr id="22" name="Google Shape;661;p19">
              <a:extLst>
                <a:ext uri="{FF2B5EF4-FFF2-40B4-BE49-F238E27FC236}">
                  <a16:creationId xmlns:a16="http://schemas.microsoft.com/office/drawing/2014/main" id="{CF3194B3-2520-A6CA-2EF1-AD4D8D4F0B88}"/>
                </a:ext>
              </a:extLst>
            </p:cNvPr>
            <p:cNvSpPr/>
            <p:nvPr/>
          </p:nvSpPr>
          <p:spPr>
            <a:xfrm>
              <a:off x="655" y="759265"/>
              <a:ext cx="4102126" cy="816457"/>
            </a:xfrm>
            <a:prstGeom prst="roundRect">
              <a:avLst>
                <a:gd name="adj" fmla="val 10000"/>
              </a:avLst>
            </a:prstGeom>
            <a:solidFill>
              <a:srgbClr val="3563E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662;p19">
              <a:extLst>
                <a:ext uri="{FF2B5EF4-FFF2-40B4-BE49-F238E27FC236}">
                  <a16:creationId xmlns:a16="http://schemas.microsoft.com/office/drawing/2014/main" id="{E90D5F26-6BC9-FF9C-FE46-41B7F908AE84}"/>
                </a:ext>
              </a:extLst>
            </p:cNvPr>
            <p:cNvSpPr txBox="1"/>
            <p:nvPr/>
          </p:nvSpPr>
          <p:spPr>
            <a:xfrm>
              <a:off x="655" y="759265"/>
              <a:ext cx="4102126" cy="544304"/>
            </a:xfrm>
            <a:prstGeom prst="rect">
              <a:avLst/>
            </a:prstGeom>
            <a:noFill/>
            <a:ln>
              <a:noFill/>
            </a:ln>
          </p:spPr>
          <p:txBody>
            <a:bodyPr spcFirstLastPara="1" wrap="square" lIns="156450" tIns="156450" rIns="156450" bIns="83800" anchor="t" anchorCtr="0">
              <a:noAutofit/>
            </a:bodyPr>
            <a:lstStyle/>
            <a:p>
              <a:pPr marL="0" marR="0" lvl="0" indent="0" algn="l" rtl="0">
                <a:lnSpc>
                  <a:spcPct val="90000"/>
                </a:lnSpc>
                <a:spcBef>
                  <a:spcPts val="0"/>
                </a:spcBef>
                <a:spcAft>
                  <a:spcPts val="0"/>
                </a:spcAft>
                <a:buNone/>
              </a:pPr>
              <a:r>
                <a:rPr lang="en-GB" sz="2200">
                  <a:solidFill>
                    <a:schemeClr val="lt1"/>
                  </a:solidFill>
                  <a:latin typeface="Arial"/>
                  <a:ea typeface="Arial"/>
                  <a:cs typeface="Arial"/>
                  <a:sym typeface="Arial"/>
                </a:rPr>
                <a:t>Sports, teams and clubs</a:t>
              </a:r>
              <a:endParaRPr/>
            </a:p>
          </p:txBody>
        </p:sp>
        <p:sp>
          <p:nvSpPr>
            <p:cNvPr id="24" name="Google Shape;663;p19">
              <a:extLst>
                <a:ext uri="{FF2B5EF4-FFF2-40B4-BE49-F238E27FC236}">
                  <a16:creationId xmlns:a16="http://schemas.microsoft.com/office/drawing/2014/main" id="{33361437-3A4F-D03C-5112-9FD08FF07207}"/>
                </a:ext>
              </a:extLst>
            </p:cNvPr>
            <p:cNvSpPr/>
            <p:nvPr/>
          </p:nvSpPr>
          <p:spPr>
            <a:xfrm>
              <a:off x="939432" y="1206347"/>
              <a:ext cx="3768155" cy="2128979"/>
            </a:xfrm>
            <a:prstGeom prst="roundRect">
              <a:avLst>
                <a:gd name="adj" fmla="val 10000"/>
              </a:avLst>
            </a:prstGeom>
            <a:solidFill>
              <a:schemeClr val="lt1">
                <a:alpha val="89803"/>
              </a:schemeClr>
            </a:solidFill>
            <a:ln w="12700" cap="flat" cmpd="sng">
              <a:solidFill>
                <a:srgbClr val="3563E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664;p19">
              <a:extLst>
                <a:ext uri="{FF2B5EF4-FFF2-40B4-BE49-F238E27FC236}">
                  <a16:creationId xmlns:a16="http://schemas.microsoft.com/office/drawing/2014/main" id="{BEFB52B9-5AF4-865A-1189-D4929E049BF1}"/>
                </a:ext>
              </a:extLst>
            </p:cNvPr>
            <p:cNvSpPr txBox="1"/>
            <p:nvPr/>
          </p:nvSpPr>
          <p:spPr>
            <a:xfrm>
              <a:off x="970664" y="1237580"/>
              <a:ext cx="3705691" cy="1003884"/>
            </a:xfrm>
            <a:prstGeom prst="rect">
              <a:avLst/>
            </a:prstGeom>
            <a:noFill/>
            <a:ln>
              <a:noFill/>
            </a:ln>
          </p:spPr>
          <p:txBody>
            <a:bodyPr spcFirstLastPara="1" wrap="square" lIns="227575" tIns="227575" rIns="227575" bIns="227575" anchor="t" anchorCtr="0">
              <a:noAutofit/>
            </a:bodyPr>
            <a:lstStyle/>
            <a:p>
              <a:pPr marL="285750" marR="0" lvl="1" indent="-82550" algn="l" rtl="0">
                <a:lnSpc>
                  <a:spcPct val="90000"/>
                </a:lnSpc>
                <a:spcBef>
                  <a:spcPts val="0"/>
                </a:spcBef>
                <a:spcAft>
                  <a:spcPts val="0"/>
                </a:spcAft>
                <a:buClr>
                  <a:schemeClr val="dk1"/>
                </a:buClr>
                <a:buSzPts val="3200"/>
                <a:buFont typeface="Arial"/>
                <a:buNone/>
              </a:pPr>
              <a:endParaRPr sz="3200" b="0" i="0" u="none" strike="noStrike" cap="none">
                <a:solidFill>
                  <a:schemeClr val="dk1"/>
                </a:solidFill>
                <a:latin typeface="Arial"/>
                <a:ea typeface="Arial"/>
                <a:cs typeface="Arial"/>
                <a:sym typeface="Arial"/>
              </a:endParaRPr>
            </a:p>
          </p:txBody>
        </p:sp>
        <p:sp>
          <p:nvSpPr>
            <p:cNvPr id="26" name="Google Shape;665;p19">
              <a:extLst>
                <a:ext uri="{FF2B5EF4-FFF2-40B4-BE49-F238E27FC236}">
                  <a16:creationId xmlns:a16="http://schemas.microsoft.com/office/drawing/2014/main" id="{89D9561A-CD29-3CB3-9341-0BBC3355C943}"/>
                </a:ext>
              </a:extLst>
            </p:cNvPr>
            <p:cNvSpPr/>
            <p:nvPr/>
          </p:nvSpPr>
          <p:spPr>
            <a:xfrm rot="25864">
              <a:off x="4769892" y="675105"/>
              <a:ext cx="1128830" cy="938161"/>
            </a:xfrm>
            <a:prstGeom prst="rightArrow">
              <a:avLst>
                <a:gd name="adj1" fmla="val 60000"/>
                <a:gd name="adj2" fmla="val 50000"/>
              </a:avLst>
            </a:prstGeom>
            <a:solidFill>
              <a:srgbClr val="ACB6F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666;p19">
              <a:extLst>
                <a:ext uri="{FF2B5EF4-FFF2-40B4-BE49-F238E27FC236}">
                  <a16:creationId xmlns:a16="http://schemas.microsoft.com/office/drawing/2014/main" id="{85DA4D1D-F26D-86A5-0217-6582778360FF}"/>
                </a:ext>
              </a:extLst>
            </p:cNvPr>
            <p:cNvSpPr txBox="1"/>
            <p:nvPr/>
          </p:nvSpPr>
          <p:spPr>
            <a:xfrm rot="25864">
              <a:off x="4769896" y="861678"/>
              <a:ext cx="847382" cy="562897"/>
            </a:xfrm>
            <a:prstGeom prst="rect">
              <a:avLst/>
            </a:prstGeom>
            <a:noFill/>
            <a:ln>
              <a:noFill/>
            </a:ln>
          </p:spPr>
          <p:txBody>
            <a:bodyPr spcFirstLastPara="1" wrap="square" lIns="0" tIns="0" rIns="0" bIns="0" anchor="ctr" anchorCtr="0">
              <a:noAutofit/>
            </a:bodyPr>
            <a:lstStyle/>
            <a:p>
              <a:pPr marL="0" marR="0" lvl="0" indent="0" algn="ctr" rtl="0">
                <a:lnSpc>
                  <a:spcPct val="90000"/>
                </a:lnSpc>
                <a:spcBef>
                  <a:spcPts val="0"/>
                </a:spcBef>
                <a:spcAft>
                  <a:spcPts val="0"/>
                </a:spcAft>
                <a:buNone/>
              </a:pPr>
              <a:endParaRPr sz="1800">
                <a:solidFill>
                  <a:schemeClr val="lt1"/>
                </a:solidFill>
                <a:latin typeface="Arial"/>
                <a:ea typeface="Arial"/>
                <a:cs typeface="Arial"/>
                <a:sym typeface="Arial"/>
              </a:endParaRPr>
            </a:p>
          </p:txBody>
        </p:sp>
        <p:sp>
          <p:nvSpPr>
            <p:cNvPr id="28" name="Google Shape;667;p19">
              <a:extLst>
                <a:ext uri="{FF2B5EF4-FFF2-40B4-BE49-F238E27FC236}">
                  <a16:creationId xmlns:a16="http://schemas.microsoft.com/office/drawing/2014/main" id="{845CBB79-5B40-E6BC-9D5E-ECBAE74403F0}"/>
                </a:ext>
              </a:extLst>
            </p:cNvPr>
            <p:cNvSpPr/>
            <p:nvPr/>
          </p:nvSpPr>
          <p:spPr>
            <a:xfrm>
              <a:off x="6232621" y="665973"/>
              <a:ext cx="3768155" cy="1000309"/>
            </a:xfrm>
            <a:prstGeom prst="roundRect">
              <a:avLst>
                <a:gd name="adj" fmla="val 10000"/>
              </a:avLst>
            </a:prstGeom>
            <a:solidFill>
              <a:srgbClr val="3563E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668;p19">
              <a:extLst>
                <a:ext uri="{FF2B5EF4-FFF2-40B4-BE49-F238E27FC236}">
                  <a16:creationId xmlns:a16="http://schemas.microsoft.com/office/drawing/2014/main" id="{19AD88E3-DDF5-8A69-0497-8229A3544871}"/>
                </a:ext>
              </a:extLst>
            </p:cNvPr>
            <p:cNvSpPr txBox="1"/>
            <p:nvPr/>
          </p:nvSpPr>
          <p:spPr>
            <a:xfrm>
              <a:off x="6232621" y="665973"/>
              <a:ext cx="3768155" cy="666873"/>
            </a:xfrm>
            <a:prstGeom prst="rect">
              <a:avLst/>
            </a:prstGeom>
            <a:noFill/>
            <a:ln>
              <a:noFill/>
            </a:ln>
          </p:spPr>
          <p:txBody>
            <a:bodyPr spcFirstLastPara="1" wrap="square" lIns="156450" tIns="156450" rIns="156450" bIns="83800" anchor="t" anchorCtr="0">
              <a:noAutofit/>
            </a:bodyPr>
            <a:lstStyle/>
            <a:p>
              <a:pPr marL="0" marR="0" lvl="0" indent="0" algn="l" rtl="0">
                <a:lnSpc>
                  <a:spcPct val="90000"/>
                </a:lnSpc>
                <a:spcBef>
                  <a:spcPts val="0"/>
                </a:spcBef>
                <a:spcAft>
                  <a:spcPts val="0"/>
                </a:spcAft>
                <a:buNone/>
              </a:pPr>
              <a:r>
                <a:rPr lang="en-GB" sz="2200">
                  <a:solidFill>
                    <a:schemeClr val="lt1"/>
                  </a:solidFill>
                  <a:latin typeface="Arial"/>
                  <a:ea typeface="Arial"/>
                  <a:cs typeface="Arial"/>
                  <a:sym typeface="Arial"/>
                </a:rPr>
                <a:t>Skills</a:t>
              </a:r>
              <a:endParaRPr/>
            </a:p>
          </p:txBody>
        </p:sp>
        <p:sp>
          <p:nvSpPr>
            <p:cNvPr id="30" name="Google Shape;669;p19">
              <a:extLst>
                <a:ext uri="{FF2B5EF4-FFF2-40B4-BE49-F238E27FC236}">
                  <a16:creationId xmlns:a16="http://schemas.microsoft.com/office/drawing/2014/main" id="{DF5E5249-EACB-480C-3411-0CDF63B834F2}"/>
                </a:ext>
              </a:extLst>
            </p:cNvPr>
            <p:cNvSpPr/>
            <p:nvPr/>
          </p:nvSpPr>
          <p:spPr>
            <a:xfrm>
              <a:off x="6939863" y="1067327"/>
              <a:ext cx="3768155" cy="2267999"/>
            </a:xfrm>
            <a:prstGeom prst="roundRect">
              <a:avLst>
                <a:gd name="adj" fmla="val 10000"/>
              </a:avLst>
            </a:prstGeom>
            <a:solidFill>
              <a:schemeClr val="lt1">
                <a:alpha val="89803"/>
              </a:schemeClr>
            </a:solidFill>
            <a:ln w="12700" cap="flat" cmpd="sng">
              <a:solidFill>
                <a:srgbClr val="3563E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670;p19">
              <a:extLst>
                <a:ext uri="{FF2B5EF4-FFF2-40B4-BE49-F238E27FC236}">
                  <a16:creationId xmlns:a16="http://schemas.microsoft.com/office/drawing/2014/main" id="{81605B37-6E9B-AE25-A2D4-4303E8BDB425}"/>
                </a:ext>
              </a:extLst>
            </p:cNvPr>
            <p:cNvSpPr txBox="1"/>
            <p:nvPr/>
          </p:nvSpPr>
          <p:spPr>
            <a:xfrm>
              <a:off x="6995536" y="1123000"/>
              <a:ext cx="3656809" cy="2212327"/>
            </a:xfrm>
            <a:prstGeom prst="rect">
              <a:avLst/>
            </a:prstGeom>
            <a:noFill/>
            <a:ln>
              <a:noFill/>
            </a:ln>
          </p:spPr>
          <p:txBody>
            <a:bodyPr spcFirstLastPara="1" wrap="square" lIns="170675" tIns="170675" rIns="170675" bIns="170675" anchor="t" anchorCtr="0">
              <a:noAutofit/>
            </a:bodyPr>
            <a:lstStyle/>
            <a:p>
              <a:pPr marL="228600" marR="0" lvl="1" indent="-76200" algn="l" rtl="0">
                <a:lnSpc>
                  <a:spcPct val="90000"/>
                </a:lnSpc>
                <a:spcBef>
                  <a:spcPts val="0"/>
                </a:spcBef>
                <a:spcAft>
                  <a:spcPts val="0"/>
                </a:spcAft>
                <a:buClr>
                  <a:schemeClr val="dk1"/>
                </a:buClr>
                <a:buSzPts val="2400"/>
                <a:buFont typeface="Arial"/>
                <a:buNone/>
              </a:pPr>
              <a:endParaRPr sz="2400" b="0" i="0" u="none" strike="noStrike" cap="none">
                <a:solidFill>
                  <a:schemeClr val="dk1"/>
                </a:solidFill>
                <a:latin typeface="Arial"/>
                <a:ea typeface="Arial"/>
                <a:cs typeface="Arial"/>
                <a:sym typeface="Arial"/>
              </a:endParaRPr>
            </a:p>
          </p:txBody>
        </p:sp>
      </p:grpSp>
      <p:grpSp>
        <p:nvGrpSpPr>
          <p:cNvPr id="32" name="Google Shape;671;p19">
            <a:extLst>
              <a:ext uri="{FF2B5EF4-FFF2-40B4-BE49-F238E27FC236}">
                <a16:creationId xmlns:a16="http://schemas.microsoft.com/office/drawing/2014/main" id="{22F4C603-80AF-2CE5-9F72-58B7AFD90BB2}"/>
              </a:ext>
            </a:extLst>
          </p:cNvPr>
          <p:cNvGrpSpPr/>
          <p:nvPr/>
        </p:nvGrpSpPr>
        <p:grpSpPr>
          <a:xfrm>
            <a:off x="327143" y="3945358"/>
            <a:ext cx="10709215" cy="2670103"/>
            <a:chOff x="55095" y="1930408"/>
            <a:chExt cx="10709215" cy="2670103"/>
          </a:xfrm>
        </p:grpSpPr>
        <p:sp>
          <p:nvSpPr>
            <p:cNvPr id="33" name="Google Shape;672;p19">
              <a:extLst>
                <a:ext uri="{FF2B5EF4-FFF2-40B4-BE49-F238E27FC236}">
                  <a16:creationId xmlns:a16="http://schemas.microsoft.com/office/drawing/2014/main" id="{0C1DC5F9-C17E-8AC3-DEC5-7A902461D5BA}"/>
                </a:ext>
              </a:extLst>
            </p:cNvPr>
            <p:cNvSpPr/>
            <p:nvPr/>
          </p:nvSpPr>
          <p:spPr>
            <a:xfrm>
              <a:off x="55095" y="1968414"/>
              <a:ext cx="4102126" cy="887629"/>
            </a:xfrm>
            <a:custGeom>
              <a:avLst/>
              <a:gdLst/>
              <a:ahLst/>
              <a:cxnLst/>
              <a:rect l="l" t="t" r="r" b="b"/>
              <a:pathLst>
                <a:path w="4102126" h="887629" extrusionOk="0">
                  <a:moveTo>
                    <a:pt x="0" y="88763"/>
                  </a:moveTo>
                  <a:cubicBezTo>
                    <a:pt x="0" y="39741"/>
                    <a:pt x="39741" y="0"/>
                    <a:pt x="88763" y="0"/>
                  </a:cubicBezTo>
                  <a:lnTo>
                    <a:pt x="4013363" y="0"/>
                  </a:lnTo>
                  <a:cubicBezTo>
                    <a:pt x="4062385" y="0"/>
                    <a:pt x="4102126" y="39741"/>
                    <a:pt x="4102126" y="88763"/>
                  </a:cubicBezTo>
                  <a:lnTo>
                    <a:pt x="4102126" y="798866"/>
                  </a:lnTo>
                  <a:cubicBezTo>
                    <a:pt x="4102126" y="847888"/>
                    <a:pt x="4062385" y="887629"/>
                    <a:pt x="4013363" y="887629"/>
                  </a:cubicBezTo>
                  <a:lnTo>
                    <a:pt x="88763" y="887629"/>
                  </a:lnTo>
                  <a:cubicBezTo>
                    <a:pt x="39741" y="887629"/>
                    <a:pt x="0" y="847888"/>
                    <a:pt x="0" y="798866"/>
                  </a:cubicBezTo>
                  <a:lnTo>
                    <a:pt x="0" y="88763"/>
                  </a:lnTo>
                  <a:close/>
                </a:path>
              </a:pathLst>
            </a:custGeom>
            <a:solidFill>
              <a:srgbClr val="FECC17"/>
            </a:solidFill>
            <a:ln w="12700" cap="flat" cmpd="sng">
              <a:solidFill>
                <a:schemeClr val="lt1"/>
              </a:solidFill>
              <a:prstDash val="solid"/>
              <a:miter lim="800000"/>
              <a:headEnd type="none" w="sm" len="sm"/>
              <a:tailEnd type="none" w="sm" len="sm"/>
            </a:ln>
          </p:spPr>
          <p:txBody>
            <a:bodyPr spcFirstLastPara="1" wrap="square" lIns="170675" tIns="170675" rIns="170675" bIns="38730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GB" sz="2400">
                  <a:latin typeface="Arial"/>
                  <a:cs typeface="Arial"/>
                  <a:sym typeface="Arial"/>
                </a:rPr>
                <a:t>Achievements</a:t>
              </a:r>
              <a:endParaRPr>
                <a:solidFill>
                  <a:schemeClr val="tx1"/>
                </a:solidFill>
              </a:endParaRPr>
            </a:p>
          </p:txBody>
        </p:sp>
        <p:sp>
          <p:nvSpPr>
            <p:cNvPr id="34" name="Google Shape;674;p19">
              <a:extLst>
                <a:ext uri="{FF2B5EF4-FFF2-40B4-BE49-F238E27FC236}">
                  <a16:creationId xmlns:a16="http://schemas.microsoft.com/office/drawing/2014/main" id="{206C098E-34A5-0150-5572-C52228CF8BEF}"/>
                </a:ext>
              </a:extLst>
            </p:cNvPr>
            <p:cNvSpPr/>
            <p:nvPr/>
          </p:nvSpPr>
          <p:spPr>
            <a:xfrm rot="14434">
              <a:off x="4824635" y="1934803"/>
              <a:ext cx="1128856" cy="938161"/>
            </a:xfrm>
            <a:custGeom>
              <a:avLst/>
              <a:gdLst/>
              <a:ahLst/>
              <a:cxnLst/>
              <a:rect l="l" t="t" r="r" b="b"/>
              <a:pathLst>
                <a:path w="1128856" h="938161" extrusionOk="0">
                  <a:moveTo>
                    <a:pt x="0" y="187632"/>
                  </a:moveTo>
                  <a:lnTo>
                    <a:pt x="659776" y="187632"/>
                  </a:lnTo>
                  <a:lnTo>
                    <a:pt x="659776" y="0"/>
                  </a:lnTo>
                  <a:lnTo>
                    <a:pt x="1128856" y="469081"/>
                  </a:lnTo>
                  <a:lnTo>
                    <a:pt x="659776" y="938161"/>
                  </a:lnTo>
                  <a:lnTo>
                    <a:pt x="659776" y="750529"/>
                  </a:lnTo>
                  <a:lnTo>
                    <a:pt x="0" y="750529"/>
                  </a:lnTo>
                  <a:lnTo>
                    <a:pt x="0" y="187632"/>
                  </a:lnTo>
                  <a:close/>
                </a:path>
              </a:pathLst>
            </a:custGeom>
            <a:solidFill>
              <a:srgbClr val="FECC17"/>
            </a:solidFill>
            <a:ln>
              <a:noFill/>
            </a:ln>
          </p:spPr>
          <p:txBody>
            <a:bodyPr spcFirstLastPara="1" wrap="square" lIns="0" tIns="187625" rIns="281425" bIns="187625" anchor="ctr" anchorCtr="0">
              <a:noAutofit/>
            </a:bodyPr>
            <a:lstStyle/>
            <a:p>
              <a:pPr marL="0" marR="0" lvl="0" indent="0" algn="ctr" rtl="0">
                <a:lnSpc>
                  <a:spcPct val="90000"/>
                </a:lnSpc>
                <a:spcBef>
                  <a:spcPts val="0"/>
                </a:spcBef>
                <a:spcAft>
                  <a:spcPts val="0"/>
                </a:spcAft>
                <a:buClr>
                  <a:schemeClr val="dk1"/>
                </a:buClr>
                <a:buSzPts val="1900"/>
                <a:buFont typeface="Arial"/>
                <a:buNone/>
              </a:pPr>
              <a:endParaRPr sz="1900">
                <a:solidFill>
                  <a:schemeClr val="lt1"/>
                </a:solidFill>
                <a:latin typeface="Arial"/>
                <a:ea typeface="Arial"/>
                <a:cs typeface="Arial"/>
                <a:sym typeface="Arial"/>
              </a:endParaRPr>
            </a:p>
          </p:txBody>
        </p:sp>
        <p:sp>
          <p:nvSpPr>
            <p:cNvPr id="35" name="Google Shape;675;p19">
              <a:extLst>
                <a:ext uri="{FF2B5EF4-FFF2-40B4-BE49-F238E27FC236}">
                  <a16:creationId xmlns:a16="http://schemas.microsoft.com/office/drawing/2014/main" id="{BA344405-CB3B-2839-3239-EB44ED19FE8A}"/>
                </a:ext>
              </a:extLst>
            </p:cNvPr>
            <p:cNvSpPr/>
            <p:nvPr/>
          </p:nvSpPr>
          <p:spPr>
            <a:xfrm>
              <a:off x="6287131" y="1930408"/>
              <a:ext cx="3768155" cy="994987"/>
            </a:xfrm>
            <a:custGeom>
              <a:avLst/>
              <a:gdLst/>
              <a:ahLst/>
              <a:cxnLst/>
              <a:rect l="l" t="t" r="r" b="b"/>
              <a:pathLst>
                <a:path w="3768155" h="915199" extrusionOk="0">
                  <a:moveTo>
                    <a:pt x="0" y="91520"/>
                  </a:moveTo>
                  <a:cubicBezTo>
                    <a:pt x="0" y="40975"/>
                    <a:pt x="40975" y="0"/>
                    <a:pt x="91520" y="0"/>
                  </a:cubicBezTo>
                  <a:lnTo>
                    <a:pt x="3676635" y="0"/>
                  </a:lnTo>
                  <a:cubicBezTo>
                    <a:pt x="3727180" y="0"/>
                    <a:pt x="3768155" y="40975"/>
                    <a:pt x="3768155" y="91520"/>
                  </a:cubicBezTo>
                  <a:lnTo>
                    <a:pt x="3768155" y="823679"/>
                  </a:lnTo>
                  <a:cubicBezTo>
                    <a:pt x="3768155" y="874224"/>
                    <a:pt x="3727180" y="915199"/>
                    <a:pt x="3676635" y="915199"/>
                  </a:cubicBezTo>
                  <a:lnTo>
                    <a:pt x="91520" y="915199"/>
                  </a:lnTo>
                  <a:cubicBezTo>
                    <a:pt x="40975" y="915199"/>
                    <a:pt x="0" y="874224"/>
                    <a:pt x="0" y="823679"/>
                  </a:cubicBezTo>
                  <a:lnTo>
                    <a:pt x="0" y="91520"/>
                  </a:lnTo>
                  <a:close/>
                </a:path>
              </a:pathLst>
            </a:custGeom>
            <a:solidFill>
              <a:srgbClr val="FECC17"/>
            </a:solidFill>
            <a:ln w="12700" cap="flat" cmpd="sng">
              <a:solidFill>
                <a:schemeClr val="lt1"/>
              </a:solidFill>
              <a:prstDash val="solid"/>
              <a:miter lim="800000"/>
              <a:headEnd type="none" w="sm" len="sm"/>
              <a:tailEnd type="none" w="sm" len="sm"/>
            </a:ln>
          </p:spPr>
          <p:txBody>
            <a:bodyPr spcFirstLastPara="1" wrap="square" lIns="170675" tIns="170675" rIns="170675" bIns="396500" anchor="t" anchorCtr="0">
              <a:noAutofit/>
            </a:bodyPr>
            <a:lstStyle/>
            <a:p>
              <a:pPr marL="0" marR="0" lvl="0" indent="0" algn="l" rtl="0">
                <a:lnSpc>
                  <a:spcPct val="90000"/>
                </a:lnSpc>
                <a:spcBef>
                  <a:spcPts val="0"/>
                </a:spcBef>
                <a:spcAft>
                  <a:spcPts val="0"/>
                </a:spcAft>
                <a:buClr>
                  <a:schemeClr val="lt1"/>
                </a:buClr>
                <a:buSzPts val="2400"/>
                <a:buFont typeface="Arial"/>
                <a:buNone/>
              </a:pPr>
              <a:r>
                <a:rPr lang="en-GB" sz="2400">
                  <a:solidFill>
                    <a:schemeClr val="tx1"/>
                  </a:solidFill>
                  <a:latin typeface="Arial"/>
                  <a:ea typeface="Arial"/>
                  <a:cs typeface="Arial"/>
                  <a:sym typeface="Arial"/>
                </a:rPr>
                <a:t>Skills</a:t>
              </a:r>
              <a:endParaRPr>
                <a:solidFill>
                  <a:schemeClr val="tx1"/>
                </a:solidFill>
              </a:endParaRPr>
            </a:p>
          </p:txBody>
        </p:sp>
        <p:sp>
          <p:nvSpPr>
            <p:cNvPr id="36" name="Google Shape;676;p19">
              <a:extLst>
                <a:ext uri="{FF2B5EF4-FFF2-40B4-BE49-F238E27FC236}">
                  <a16:creationId xmlns:a16="http://schemas.microsoft.com/office/drawing/2014/main" id="{C5DA7A9E-19E5-30BB-47C7-419D76FEF1E8}"/>
                </a:ext>
              </a:extLst>
            </p:cNvPr>
            <p:cNvSpPr/>
            <p:nvPr/>
          </p:nvSpPr>
          <p:spPr>
            <a:xfrm>
              <a:off x="6996155" y="2317385"/>
              <a:ext cx="3768155" cy="2283126"/>
            </a:xfrm>
            <a:custGeom>
              <a:avLst/>
              <a:gdLst/>
              <a:ahLst/>
              <a:cxnLst/>
              <a:rect l="l" t="t" r="r" b="b"/>
              <a:pathLst>
                <a:path w="3768155" h="2268000" extrusionOk="0">
                  <a:moveTo>
                    <a:pt x="0" y="226800"/>
                  </a:moveTo>
                  <a:cubicBezTo>
                    <a:pt x="0" y="101542"/>
                    <a:pt x="101542" y="0"/>
                    <a:pt x="226800" y="0"/>
                  </a:cubicBezTo>
                  <a:lnTo>
                    <a:pt x="3541355" y="0"/>
                  </a:lnTo>
                  <a:cubicBezTo>
                    <a:pt x="3666613" y="0"/>
                    <a:pt x="3768155" y="101542"/>
                    <a:pt x="3768155" y="226800"/>
                  </a:cubicBezTo>
                  <a:lnTo>
                    <a:pt x="3768155" y="2041200"/>
                  </a:lnTo>
                  <a:cubicBezTo>
                    <a:pt x="3768155" y="2166458"/>
                    <a:pt x="3666613" y="2268000"/>
                    <a:pt x="3541355" y="2268000"/>
                  </a:cubicBezTo>
                  <a:lnTo>
                    <a:pt x="226800" y="2268000"/>
                  </a:lnTo>
                  <a:cubicBezTo>
                    <a:pt x="101542" y="2268000"/>
                    <a:pt x="0" y="2166458"/>
                    <a:pt x="0" y="2041200"/>
                  </a:cubicBezTo>
                  <a:lnTo>
                    <a:pt x="0" y="226800"/>
                  </a:lnTo>
                  <a:close/>
                </a:path>
              </a:pathLst>
            </a:custGeom>
            <a:solidFill>
              <a:schemeClr val="lt1">
                <a:alpha val="89803"/>
              </a:schemeClr>
            </a:solidFill>
            <a:ln w="12700" cap="flat" cmpd="sng">
              <a:solidFill>
                <a:srgbClr val="FECC17"/>
              </a:solidFill>
              <a:prstDash val="solid"/>
              <a:miter lim="800000"/>
              <a:headEnd type="none" w="sm" len="sm"/>
              <a:tailEnd type="none" w="sm" len="sm"/>
            </a:ln>
          </p:spPr>
          <p:txBody>
            <a:bodyPr spcFirstLastPara="1" wrap="square" lIns="237100" tIns="237100" rIns="237100" bIns="237100" anchor="t" anchorCtr="0">
              <a:noAutofit/>
            </a:bodyPr>
            <a:lstStyle/>
            <a:p>
              <a:pPr marL="228600" marR="0" lvl="1" indent="-228600" algn="l" rtl="0">
                <a:lnSpc>
                  <a:spcPct val="90000"/>
                </a:lnSpc>
                <a:spcBef>
                  <a:spcPts val="0"/>
                </a:spcBef>
                <a:spcAft>
                  <a:spcPts val="0"/>
                </a:spcAft>
                <a:buClr>
                  <a:schemeClr val="dk1"/>
                </a:buClr>
                <a:buSzPts val="2400"/>
                <a:buFont typeface="Arial"/>
                <a:buChar char="•"/>
              </a:pPr>
              <a:endParaRPr/>
            </a:p>
          </p:txBody>
        </p:sp>
        <p:sp>
          <p:nvSpPr>
            <p:cNvPr id="37" name="Google Shape;676;p19">
              <a:extLst>
                <a:ext uri="{FF2B5EF4-FFF2-40B4-BE49-F238E27FC236}">
                  <a16:creationId xmlns:a16="http://schemas.microsoft.com/office/drawing/2014/main" id="{9E1E0129-ECCC-B4FA-A541-1976B2506479}"/>
                </a:ext>
              </a:extLst>
            </p:cNvPr>
            <p:cNvSpPr/>
            <p:nvPr/>
          </p:nvSpPr>
          <p:spPr>
            <a:xfrm>
              <a:off x="992102" y="2469221"/>
              <a:ext cx="3768155" cy="2128979"/>
            </a:xfrm>
            <a:custGeom>
              <a:avLst/>
              <a:gdLst/>
              <a:ahLst/>
              <a:cxnLst/>
              <a:rect l="l" t="t" r="r" b="b"/>
              <a:pathLst>
                <a:path w="3768155" h="2268000" extrusionOk="0">
                  <a:moveTo>
                    <a:pt x="0" y="226800"/>
                  </a:moveTo>
                  <a:cubicBezTo>
                    <a:pt x="0" y="101542"/>
                    <a:pt x="101542" y="0"/>
                    <a:pt x="226800" y="0"/>
                  </a:cubicBezTo>
                  <a:lnTo>
                    <a:pt x="3541355" y="0"/>
                  </a:lnTo>
                  <a:cubicBezTo>
                    <a:pt x="3666613" y="0"/>
                    <a:pt x="3768155" y="101542"/>
                    <a:pt x="3768155" y="226800"/>
                  </a:cubicBezTo>
                  <a:lnTo>
                    <a:pt x="3768155" y="2041200"/>
                  </a:lnTo>
                  <a:cubicBezTo>
                    <a:pt x="3768155" y="2166458"/>
                    <a:pt x="3666613" y="2268000"/>
                    <a:pt x="3541355" y="2268000"/>
                  </a:cubicBezTo>
                  <a:lnTo>
                    <a:pt x="226800" y="2268000"/>
                  </a:lnTo>
                  <a:cubicBezTo>
                    <a:pt x="101542" y="2268000"/>
                    <a:pt x="0" y="2166458"/>
                    <a:pt x="0" y="2041200"/>
                  </a:cubicBezTo>
                  <a:lnTo>
                    <a:pt x="0" y="226800"/>
                  </a:lnTo>
                  <a:close/>
                </a:path>
              </a:pathLst>
            </a:custGeom>
            <a:solidFill>
              <a:schemeClr val="lt1">
                <a:alpha val="89803"/>
              </a:schemeClr>
            </a:solidFill>
            <a:ln w="12700" cap="flat" cmpd="sng">
              <a:solidFill>
                <a:srgbClr val="FECC17"/>
              </a:solidFill>
              <a:prstDash val="solid"/>
              <a:miter lim="800000"/>
              <a:headEnd type="none" w="sm" len="sm"/>
              <a:tailEnd type="none" w="sm" len="sm"/>
            </a:ln>
          </p:spPr>
          <p:txBody>
            <a:bodyPr spcFirstLastPara="1" wrap="square" lIns="237100" tIns="237100" rIns="237100" bIns="237100" anchor="t" anchorCtr="0">
              <a:noAutofit/>
            </a:bodyPr>
            <a:lstStyle/>
            <a:p>
              <a:pPr marL="0" marR="0" lvl="1" algn="l" rtl="0">
                <a:lnSpc>
                  <a:spcPct val="90000"/>
                </a:lnSpc>
                <a:spcBef>
                  <a:spcPts val="0"/>
                </a:spcBef>
                <a:spcAft>
                  <a:spcPts val="0"/>
                </a:spcAft>
                <a:buClr>
                  <a:schemeClr val="dk1"/>
                </a:buClr>
                <a:buSzPts val="2400"/>
              </a:pPr>
              <a:endParaRPr/>
            </a:p>
          </p:txBody>
        </p:sp>
      </p:grpSp>
      <p:sp>
        <p:nvSpPr>
          <p:cNvPr id="16" name="Slide Number Placeholder 15">
            <a:extLst>
              <a:ext uri="{FF2B5EF4-FFF2-40B4-BE49-F238E27FC236}">
                <a16:creationId xmlns:a16="http://schemas.microsoft.com/office/drawing/2014/main" id="{B67C0F50-1CB0-CB42-C8D1-FEA2CD69F2AF}"/>
              </a:ext>
            </a:extLst>
          </p:cNvPr>
          <p:cNvSpPr>
            <a:spLocks noGrp="1"/>
          </p:cNvSpPr>
          <p:nvPr>
            <p:ph type="sldNum" sz="quarter" idx="10"/>
          </p:nvPr>
        </p:nvSpPr>
        <p:spPr/>
        <p:txBody>
          <a:bodyPr/>
          <a:lstStyle/>
          <a:p>
            <a:fld id="{CC62790A-B937-4AF6-AB00-7B0D9DC7434B}" type="slidenum">
              <a:rPr lang="nl-NL" smtClean="0"/>
              <a:pPr/>
              <a:t>9</a:t>
            </a:fld>
            <a:endParaRPr lang="nl-NL"/>
          </a:p>
        </p:txBody>
      </p:sp>
    </p:spTree>
    <p:extLst>
      <p:ext uri="{BB962C8B-B14F-4D97-AF65-F5344CB8AC3E}">
        <p14:creationId xmlns:p14="http://schemas.microsoft.com/office/powerpoint/2010/main" val="4183983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wQAPwwAAAAAAAAAAAAAIAD///////////////8AAAD///////////////8DAAAAAwD///////8DAAAAAgD///////////////////////////////////////////////////////////////////////////////////////////////////////////////////////////////////////////////////////////////////////////////////////////////////////////////////////////////////////////////////////////////////////////////////////////////////////////////////////////////////////////////////////////////////////////////////////////////////////////////////////////////////////////////////////////////////////////////////////////////8BACAA////////////////AAAO////////AwAAAAIA////////////////////////////////////////////////////////////////////////////////////////////////////////////////////////////////////////////////////////////////////////////////////////////////////////////////////////////////////////////////////////////////////////////////////////////////////////////////////////////////////////////////////////////////////////////////////////////////////////////////////////////////////////////////////////////////////////////////////////////////////////////////////////AgACAP///////wQAAAACABAACx48ochFE3RBi7j9XAGLtjsFAAAAAAADAAAAAwADAAAAAQADAAAAAAD///////8DAAEA////////BAAAAAMAEAALgn67Y09RBUa3JrtNSe9tI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B48ochFE3RBi7j9XAGLtjsDRGF0YQAbAAAABExpbmtlZFNoYXBlRGF0YQAFAAAAAAACTmFtZQAZAAAATGlua2VkU2hhcGVzRGF0YVByb3BlcnR5ABBWZXJzaW9uAAAAAAAJTGFzdFdyaXRlABEOu02IAQAAAAEA/////8YAxgAAAAVfaWQAEAAAAASCfrtjT1EFRrcmu01J720hA0RhdGEAUwAAAAhQcmVzZW50YXRpb25TY2FubmVkRm9yTGlua2VkU2hhcGVzAAECTnVtYmVyRm9ybWF0U2VwYXJhdG9yTW9kZQAKAAAAQXV0b21hdGljAAACTmFtZQAkAAAATGlua2VkU2hhcGVQcmVzZW50YXRpb25TZXR0aW5nc0RhdGEAEFZlcnNpb24AAAAAAAlMYXN0V3JpdGUAhw+7TY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205280850035849"/>
</p:tagLst>
</file>

<file path=ppt/theme/theme1.xml><?xml version="1.0" encoding="utf-8"?>
<a:theme xmlns:a="http://schemas.openxmlformats.org/drawingml/2006/main" name="SPLASH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ACTIVITY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NOTES P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COURSE REVIEW">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HANK YOU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TRODUCTION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RANSITION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 PAGES NO IMAG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NTENT PAGES IMAGE RIGH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ONTENT PAGES IMAGE TOP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ONTENT PAGES IMAGE TOP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ONTENT PAGES IMAGE BOTTOM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CONTENT PAGES IMAGE BOTTOM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5842810-97e5-4717-a452-62dd49d9c5d3" xsi:nil="true"/>
    <lcf76f155ced4ddcb4097134ff3c332f xmlns="29437e33-b608-46fc-8724-28b79a98715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9F186DEBA6DB34A9F2D8BB285EF1F17" ma:contentTypeVersion="18" ma:contentTypeDescription="Create a new document." ma:contentTypeScope="" ma:versionID="a191eb36648810286f8e58e00378605f">
  <xsd:schema xmlns:xsd="http://www.w3.org/2001/XMLSchema" xmlns:xs="http://www.w3.org/2001/XMLSchema" xmlns:p="http://schemas.microsoft.com/office/2006/metadata/properties" xmlns:ns2="29437e33-b608-46fc-8724-28b79a987159" xmlns:ns3="45842810-97e5-4717-a452-62dd49d9c5d3" targetNamespace="http://schemas.microsoft.com/office/2006/metadata/properties" ma:root="true" ma:fieldsID="f4106d97b97d9ae02a38cf8326d160db" ns2:_="" ns3:_="">
    <xsd:import namespace="29437e33-b608-46fc-8724-28b79a987159"/>
    <xsd:import namespace="45842810-97e5-4717-a452-62dd49d9c5d3"/>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437e33-b608-46fc-8724-28b79a9871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b9e2a73-f419-4c44-99f5-cd310bbfdd7d"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5842810-97e5-4717-a452-62dd49d9c5d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8598fc78-0e75-408d-a388-f3a47a043782}" ma:internalName="TaxCatchAll" ma:showField="CatchAllData" ma:web="45842810-97e5-4717-a452-62dd49d9c5d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956FD1-BE71-4EC4-BDFB-0F8CBBAF1D46}">
  <ds:schemaRefs>
    <ds:schemaRef ds:uri="http://schemas.microsoft.com/sharepoint/v3/contenttype/forms"/>
  </ds:schemaRefs>
</ds:datastoreItem>
</file>

<file path=customXml/itemProps2.xml><?xml version="1.0" encoding="utf-8"?>
<ds:datastoreItem xmlns:ds="http://schemas.openxmlformats.org/officeDocument/2006/customXml" ds:itemID="{ED5E054D-3EEF-4C34-828F-642C40BB0236}">
  <ds:schemaRefs>
    <ds:schemaRef ds:uri="16d19505-5873-4cf7-b98f-ab573d793237"/>
    <ds:schemaRef ds:uri="7ff01d4a-d9bd-4f1d-8d9e-0fa88185bc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45842810-97e5-4717-a452-62dd49d9c5d3"/>
    <ds:schemaRef ds:uri="29437e33-b608-46fc-8724-28b79a987159"/>
  </ds:schemaRefs>
</ds:datastoreItem>
</file>

<file path=customXml/itemProps3.xml><?xml version="1.0" encoding="utf-8"?>
<ds:datastoreItem xmlns:ds="http://schemas.openxmlformats.org/officeDocument/2006/customXml" ds:itemID="{C4DBE02C-CBC1-4F6D-8D7B-DF6E0FFE8BAB}"/>
</file>

<file path=docProps/app.xml><?xml version="1.0" encoding="utf-8"?>
<Properties xmlns="http://schemas.openxmlformats.org/officeDocument/2006/extended-properties" xmlns:vt="http://schemas.openxmlformats.org/officeDocument/2006/docPropsVTypes">
  <TotalTime>1</TotalTime>
  <Words>1132</Words>
  <Application>Microsoft Office PowerPoint</Application>
  <PresentationFormat>Widescreen</PresentationFormat>
  <Paragraphs>180</Paragraphs>
  <Slides>17</Slides>
  <Notes>7</Notes>
  <HiddenSlides>0</HiddenSlides>
  <MMClips>0</MMClips>
  <ScaleCrop>false</ScaleCrop>
  <HeadingPairs>
    <vt:vector size="4" baseType="variant">
      <vt:variant>
        <vt:lpstr>Theme</vt:lpstr>
      </vt:variant>
      <vt:variant>
        <vt:i4>13</vt:i4>
      </vt:variant>
      <vt:variant>
        <vt:lpstr>Slide Titles</vt:lpstr>
      </vt:variant>
      <vt:variant>
        <vt:i4>17</vt:i4>
      </vt:variant>
    </vt:vector>
  </HeadingPairs>
  <TitlesOfParts>
    <vt:vector size="30" baseType="lpstr">
      <vt:lpstr>SPLASHPAGES</vt:lpstr>
      <vt:lpstr>INTRODUCTION PAGES</vt:lpstr>
      <vt:lpstr>TRANSITION PAGES</vt:lpstr>
      <vt:lpstr>CONTENT PAGES NO IMAGE</vt:lpstr>
      <vt:lpstr>CONTENT PAGES IMAGE RIGHT</vt:lpstr>
      <vt:lpstr>CONTENT PAGES IMAGE TOP 1</vt:lpstr>
      <vt:lpstr>CONTENT PAGES IMAGE TOP 2</vt:lpstr>
      <vt:lpstr>CONTENT PAGES IMAGE BOTTOM 1</vt:lpstr>
      <vt:lpstr>CONTENT PAGES IMAGE BOTTOM 2</vt:lpstr>
      <vt:lpstr>ACTIVITY PAGES</vt:lpstr>
      <vt:lpstr>NOTES PAGE</vt:lpstr>
      <vt:lpstr>COURSE REVIEW</vt:lpstr>
      <vt:lpstr>THANK YOU PAGES</vt:lpstr>
      <vt:lpstr>CV Writing</vt:lpstr>
      <vt:lpstr>PowerPoint Presentation</vt:lpstr>
      <vt:lpstr>LET’S LEARN FROM EXAMPLES</vt:lpstr>
      <vt:lpstr>FEEDBACK ON CV 1 - ANITA</vt:lpstr>
      <vt:lpstr>FEEDBACK ON CV 2 - ZAK</vt:lpstr>
      <vt:lpstr>FEEDBACK ON CV 3 - MICHAEL</vt:lpstr>
      <vt:lpstr>FEEDBACK ON CV 4 - SAMINA</vt:lpstr>
      <vt:lpstr>LIST YOUR ACHIEVEMENTS</vt:lpstr>
      <vt:lpstr>WHAT ARE MY ACHIEVEMENTS?</vt:lpstr>
      <vt:lpstr>WHAT ARE MY ACHIEVEMENTS?</vt:lpstr>
      <vt:lpstr>WRITE YOUR CV</vt:lpstr>
      <vt:lpstr>WHAT SHOULD BE INCLUDED IN A CV?</vt:lpstr>
      <vt:lpstr>WRITE YOUR CV</vt:lpstr>
      <vt:lpstr>WRITE YOUR CV</vt:lpstr>
      <vt:lpstr>WRITE YOUR CV</vt:lpstr>
      <vt:lpstr>WRITE YOUR CV</vt:lpstr>
      <vt:lpstr>PowerPoint Presentation</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s Gelissen (DHL SSC Maastricht)</dc:creator>
  <cp:lastModifiedBy>Bente De Rijke (DHL SSC Maastricht)</cp:lastModifiedBy>
  <cp:revision>6</cp:revision>
  <dcterms:created xsi:type="dcterms:W3CDTF">2022-01-06T11:01:34Z</dcterms:created>
  <dcterms:modified xsi:type="dcterms:W3CDTF">2023-08-21T23:1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6915f3-2f02-4945-8997-f2963298db46_Enabled">
    <vt:lpwstr>true</vt:lpwstr>
  </property>
  <property fmtid="{D5CDD505-2E9C-101B-9397-08002B2CF9AE}" pid="3" name="MSIP_Label_736915f3-2f02-4945-8997-f2963298db46_SetDate">
    <vt:lpwstr>2023-03-01T08:37:06Z</vt:lpwstr>
  </property>
  <property fmtid="{D5CDD505-2E9C-101B-9397-08002B2CF9AE}" pid="4" name="MSIP_Label_736915f3-2f02-4945-8997-f2963298db46_Method">
    <vt:lpwstr>Standard</vt:lpwstr>
  </property>
  <property fmtid="{D5CDD505-2E9C-101B-9397-08002B2CF9AE}" pid="5" name="MSIP_Label_736915f3-2f02-4945-8997-f2963298db46_Name">
    <vt:lpwstr>Internal</vt:lpwstr>
  </property>
  <property fmtid="{D5CDD505-2E9C-101B-9397-08002B2CF9AE}" pid="6" name="MSIP_Label_736915f3-2f02-4945-8997-f2963298db46_SiteId">
    <vt:lpwstr>cd99fef8-1cd3-4a2a-9bdf-15531181d65e</vt:lpwstr>
  </property>
  <property fmtid="{D5CDD505-2E9C-101B-9397-08002B2CF9AE}" pid="7" name="MSIP_Label_736915f3-2f02-4945-8997-f2963298db46_ActionId">
    <vt:lpwstr>095f8399-b45e-4896-911e-46cb41b7092b</vt:lpwstr>
  </property>
  <property fmtid="{D5CDD505-2E9C-101B-9397-08002B2CF9AE}" pid="8" name="MSIP_Label_736915f3-2f02-4945-8997-f2963298db46_ContentBits">
    <vt:lpwstr>1</vt:lpwstr>
  </property>
  <property fmtid="{D5CDD505-2E9C-101B-9397-08002B2CF9AE}" pid="9" name="MediaServiceImageTags">
    <vt:lpwstr/>
  </property>
  <property fmtid="{D5CDD505-2E9C-101B-9397-08002B2CF9AE}" pid="10" name="ContentTypeId">
    <vt:lpwstr>0x01010019F186DEBA6DB34A9F2D8BB285EF1F17</vt:lpwstr>
  </property>
</Properties>
</file>